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  <p:sldMasterId id="2147483660" r:id="rId5"/>
    <p:sldMasterId id="2147483705" r:id="rId6"/>
    <p:sldMasterId id="2147483731" r:id="rId7"/>
    <p:sldMasterId id="2147483769" r:id="rId8"/>
    <p:sldMasterId id="2147483794" r:id="rId9"/>
  </p:sldMasterIdLst>
  <p:notesMasterIdLst>
    <p:notesMasterId r:id="rId15"/>
  </p:notesMasterIdLst>
  <p:sldIdLst>
    <p:sldId id="257" r:id="rId10"/>
    <p:sldId id="2141410951" r:id="rId11"/>
    <p:sldId id="2141410952" r:id="rId12"/>
    <p:sldId id="2141410953" r:id="rId13"/>
    <p:sldId id="2141410954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le, Sean" initials="DS" lastIdx="0" clrIdx="0">
    <p:extLst>
      <p:ext uri="{19B8F6BF-5375-455C-9EA6-DF929625EA0E}">
        <p15:presenceInfo xmlns:p15="http://schemas.microsoft.com/office/powerpoint/2012/main" userId="S::Sean.Dale@uk.nationalgrid.com::7faab0be-55cb-4ca0-9161-fda452c99328" providerId="AD"/>
      </p:ext>
    </p:extLst>
  </p:cmAuthor>
  <p:cmAuthor id="2" name="Schoener, Andy" initials="SA" lastIdx="1" clrIdx="1">
    <p:extLst>
      <p:ext uri="{19B8F6BF-5375-455C-9EA6-DF929625EA0E}">
        <p15:presenceInfo xmlns:p15="http://schemas.microsoft.com/office/powerpoint/2012/main" userId="S::Andy.Schoener@us.nationalgrid.com::d4e717b5-99a1-4d18-b2db-17dcaccda6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457447-576B-0408-9C85-EF4D65C9C1E4}" v="1" dt="2021-01-26T17:52:46.456"/>
    <p1510:client id="{B00ABDC4-98AE-4FA6-98CC-8F8E16BC20BE}" v="7" dt="2021-01-26T21:43:28.4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27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C8D8F15-4CD6-4D3B-A33B-E82AFCAD763E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9D1F52-43C8-4F30-89A1-0416FAC4467C}">
      <dgm:prSet phldrT="[Text]"/>
      <dgm:spPr/>
      <dgm:t>
        <a:bodyPr/>
        <a:lstStyle/>
        <a:p>
          <a:r>
            <a:rPr lang="en-US"/>
            <a:t>EA </a:t>
          </a:r>
          <a:r>
            <a:rPr lang="en-US" err="1"/>
            <a:t>CoE</a:t>
          </a:r>
          <a:endParaRPr lang="en-US"/>
        </a:p>
      </dgm:t>
    </dgm:pt>
    <dgm:pt modelId="{A81C8973-97E5-4FE1-8904-A33066E2C279}" type="parTrans" cxnId="{E66D8C85-83F4-47CE-8CEA-BFC4596D3C8C}">
      <dgm:prSet/>
      <dgm:spPr/>
      <dgm:t>
        <a:bodyPr/>
        <a:lstStyle/>
        <a:p>
          <a:endParaRPr lang="en-US"/>
        </a:p>
      </dgm:t>
    </dgm:pt>
    <dgm:pt modelId="{666E76A7-61A7-415C-92A6-1301E7AEEF24}" type="sibTrans" cxnId="{E66D8C85-83F4-47CE-8CEA-BFC4596D3C8C}">
      <dgm:prSet/>
      <dgm:spPr/>
      <dgm:t>
        <a:bodyPr/>
        <a:lstStyle/>
        <a:p>
          <a:endParaRPr lang="en-US"/>
        </a:p>
      </dgm:t>
    </dgm:pt>
    <dgm:pt modelId="{46A1ED61-1366-4F0E-B724-7E78D45B4295}">
      <dgm:prSet phldrT="[Text]"/>
      <dgm:spPr/>
      <dgm:t>
        <a:bodyPr/>
        <a:lstStyle/>
        <a:p>
          <a:r>
            <a:rPr lang="en-US"/>
            <a:t>Portfolio Arch</a:t>
          </a:r>
        </a:p>
      </dgm:t>
    </dgm:pt>
    <dgm:pt modelId="{A9DAC40B-DEA0-420C-8731-A2DBCBB3C9E0}" type="parTrans" cxnId="{321E1021-5D9D-41CA-B9DB-17E2BAB8AAC9}">
      <dgm:prSet/>
      <dgm:spPr/>
      <dgm:t>
        <a:bodyPr/>
        <a:lstStyle/>
        <a:p>
          <a:endParaRPr lang="en-US"/>
        </a:p>
      </dgm:t>
    </dgm:pt>
    <dgm:pt modelId="{71A51445-CF4C-4043-9FB5-B53913F926A5}" type="sibTrans" cxnId="{321E1021-5D9D-41CA-B9DB-17E2BAB8AAC9}">
      <dgm:prSet/>
      <dgm:spPr/>
      <dgm:t>
        <a:bodyPr/>
        <a:lstStyle/>
        <a:p>
          <a:endParaRPr lang="en-US"/>
        </a:p>
      </dgm:t>
    </dgm:pt>
    <dgm:pt modelId="{9B74D910-7B04-42A6-9BDB-581D35DD6E01}">
      <dgm:prSet phldrT="[Text]"/>
      <dgm:spPr/>
      <dgm:t>
        <a:bodyPr/>
        <a:lstStyle/>
        <a:p>
          <a:r>
            <a:rPr lang="en-US"/>
            <a:t>Global TDA</a:t>
          </a:r>
        </a:p>
      </dgm:t>
    </dgm:pt>
    <dgm:pt modelId="{E0DA9079-3A23-4741-91FB-C5D6935F9AE4}" type="parTrans" cxnId="{62D44D0D-FB84-4164-82E6-81DB474861CF}">
      <dgm:prSet/>
      <dgm:spPr/>
      <dgm:t>
        <a:bodyPr/>
        <a:lstStyle/>
        <a:p>
          <a:endParaRPr lang="en-US"/>
        </a:p>
      </dgm:t>
    </dgm:pt>
    <dgm:pt modelId="{EBAD3B77-BF82-4F9B-AB2D-6B7F7EE667B0}" type="sibTrans" cxnId="{62D44D0D-FB84-4164-82E6-81DB474861CF}">
      <dgm:prSet/>
      <dgm:spPr/>
      <dgm:t>
        <a:bodyPr/>
        <a:lstStyle/>
        <a:p>
          <a:endParaRPr lang="en-US"/>
        </a:p>
      </dgm:t>
    </dgm:pt>
    <dgm:pt modelId="{7062F63F-7478-4280-A6D8-6A0090CF9190}">
      <dgm:prSet phldrT="[Text]"/>
      <dgm:spPr/>
      <dgm:t>
        <a:bodyPr/>
        <a:lstStyle/>
        <a:p>
          <a:r>
            <a:rPr lang="en-US"/>
            <a:t>Business Arch</a:t>
          </a:r>
        </a:p>
      </dgm:t>
    </dgm:pt>
    <dgm:pt modelId="{7B1DFC78-62F9-4B56-80F2-EB0FCEDC8E0D}" type="parTrans" cxnId="{A3C177CE-6A12-46E3-945E-05C7EBB315EE}">
      <dgm:prSet/>
      <dgm:spPr/>
      <dgm:t>
        <a:bodyPr/>
        <a:lstStyle/>
        <a:p>
          <a:endParaRPr lang="en-US"/>
        </a:p>
      </dgm:t>
    </dgm:pt>
    <dgm:pt modelId="{74A85D71-B61A-42AB-B143-7ECFBE5396FE}" type="sibTrans" cxnId="{A3C177CE-6A12-46E3-945E-05C7EBB315EE}">
      <dgm:prSet/>
      <dgm:spPr/>
      <dgm:t>
        <a:bodyPr/>
        <a:lstStyle/>
        <a:p>
          <a:endParaRPr lang="en-US"/>
        </a:p>
      </dgm:t>
    </dgm:pt>
    <dgm:pt modelId="{945B2D6C-8461-439B-BF92-BC5DAA60FA24}">
      <dgm:prSet phldrT="[Text]"/>
      <dgm:spPr/>
      <dgm:t>
        <a:bodyPr/>
        <a:lstStyle/>
        <a:p>
          <a:r>
            <a:rPr lang="en-US"/>
            <a:t>Digital</a:t>
          </a:r>
        </a:p>
      </dgm:t>
    </dgm:pt>
    <dgm:pt modelId="{E29FD1F4-BA1F-466D-8D28-1D5F31854463}" type="parTrans" cxnId="{A402B057-F3A6-4BB7-9FEC-A38C79E2D2DA}">
      <dgm:prSet/>
      <dgm:spPr/>
      <dgm:t>
        <a:bodyPr/>
        <a:lstStyle/>
        <a:p>
          <a:endParaRPr lang="en-US"/>
        </a:p>
      </dgm:t>
    </dgm:pt>
    <dgm:pt modelId="{19AED103-3E37-410D-A831-7AF68741942D}" type="sibTrans" cxnId="{A402B057-F3A6-4BB7-9FEC-A38C79E2D2DA}">
      <dgm:prSet/>
      <dgm:spPr/>
      <dgm:t>
        <a:bodyPr/>
        <a:lstStyle/>
        <a:p>
          <a:endParaRPr lang="en-US"/>
        </a:p>
      </dgm:t>
    </dgm:pt>
    <dgm:pt modelId="{F2A15B6C-4076-43A6-BECA-F36E57FF3D97}">
      <dgm:prSet phldrT="[Text]"/>
      <dgm:spPr/>
      <dgm:t>
        <a:bodyPr/>
        <a:lstStyle/>
        <a:p>
          <a:r>
            <a:rPr lang="en-US"/>
            <a:t>Platform Arch</a:t>
          </a:r>
        </a:p>
      </dgm:t>
    </dgm:pt>
    <dgm:pt modelId="{CF3E8169-1501-4118-81DF-F0A6CF9E8165}" type="parTrans" cxnId="{E8607C91-3898-4893-9E90-10AE8BDB87C3}">
      <dgm:prSet/>
      <dgm:spPr/>
      <dgm:t>
        <a:bodyPr/>
        <a:lstStyle/>
        <a:p>
          <a:endParaRPr lang="en-US"/>
        </a:p>
      </dgm:t>
    </dgm:pt>
    <dgm:pt modelId="{C2B5C5AC-01D8-4E5A-8666-98FEEF64E25E}" type="sibTrans" cxnId="{E8607C91-3898-4893-9E90-10AE8BDB87C3}">
      <dgm:prSet/>
      <dgm:spPr/>
      <dgm:t>
        <a:bodyPr/>
        <a:lstStyle/>
        <a:p>
          <a:endParaRPr lang="en-US"/>
        </a:p>
      </dgm:t>
    </dgm:pt>
    <dgm:pt modelId="{46D37B89-8282-40E8-A179-672121D43DD5}">
      <dgm:prSet phldrT="[Text]"/>
      <dgm:spPr/>
      <dgm:t>
        <a:bodyPr/>
        <a:lstStyle/>
        <a:p>
          <a:r>
            <a:rPr lang="en-US"/>
            <a:t>Infrastructure Arch</a:t>
          </a:r>
        </a:p>
      </dgm:t>
    </dgm:pt>
    <dgm:pt modelId="{C7BF96F3-5343-4FB6-82BF-11B64AABFEFE}" type="parTrans" cxnId="{81A32066-9F1F-4B66-9BE6-160A8AB0123C}">
      <dgm:prSet/>
      <dgm:spPr/>
      <dgm:t>
        <a:bodyPr/>
        <a:lstStyle/>
        <a:p>
          <a:endParaRPr lang="en-US"/>
        </a:p>
      </dgm:t>
    </dgm:pt>
    <dgm:pt modelId="{4B19FD69-B7BF-4F39-9C1D-E0D0833E828A}" type="sibTrans" cxnId="{81A32066-9F1F-4B66-9BE6-160A8AB0123C}">
      <dgm:prSet/>
      <dgm:spPr/>
      <dgm:t>
        <a:bodyPr/>
        <a:lstStyle/>
        <a:p>
          <a:endParaRPr lang="en-US"/>
        </a:p>
      </dgm:t>
    </dgm:pt>
    <dgm:pt modelId="{D2A5ECB6-27A3-4BFA-AE73-9D702AC725EC}">
      <dgm:prSet phldrT="[Text]"/>
      <dgm:spPr/>
      <dgm:t>
        <a:bodyPr/>
        <a:lstStyle/>
        <a:p>
          <a:r>
            <a:rPr lang="en-US"/>
            <a:t>Security Arch</a:t>
          </a:r>
        </a:p>
      </dgm:t>
    </dgm:pt>
    <dgm:pt modelId="{DEB47E6A-5847-4D67-BC61-C874576F531B}" type="parTrans" cxnId="{C607D20F-1C11-477E-ADBD-FAE2140701CE}">
      <dgm:prSet/>
      <dgm:spPr/>
      <dgm:t>
        <a:bodyPr/>
        <a:lstStyle/>
        <a:p>
          <a:endParaRPr lang="en-US"/>
        </a:p>
      </dgm:t>
    </dgm:pt>
    <dgm:pt modelId="{4BF31596-B7A1-4616-A406-849477F06DFC}" type="sibTrans" cxnId="{C607D20F-1C11-477E-ADBD-FAE2140701CE}">
      <dgm:prSet/>
      <dgm:spPr/>
      <dgm:t>
        <a:bodyPr/>
        <a:lstStyle/>
        <a:p>
          <a:endParaRPr lang="en-US"/>
        </a:p>
      </dgm:t>
    </dgm:pt>
    <dgm:pt modelId="{E1D16971-C61E-4D72-9894-329CF10FA4D8}">
      <dgm:prSet phldrT="[Text]"/>
      <dgm:spPr/>
      <dgm:t>
        <a:bodyPr/>
        <a:lstStyle/>
        <a:p>
          <a:r>
            <a:rPr lang="en-US"/>
            <a:t>Technology Arch</a:t>
          </a:r>
        </a:p>
      </dgm:t>
    </dgm:pt>
    <dgm:pt modelId="{222F9EF6-595C-4142-9138-CB8594157670}" type="parTrans" cxnId="{84F14D7E-2F7E-4788-9E93-0832B332A4E2}">
      <dgm:prSet/>
      <dgm:spPr/>
      <dgm:t>
        <a:bodyPr/>
        <a:lstStyle/>
        <a:p>
          <a:endParaRPr lang="en-US"/>
        </a:p>
      </dgm:t>
    </dgm:pt>
    <dgm:pt modelId="{06BB8D75-1192-4365-9133-4101C7890A27}" type="sibTrans" cxnId="{84F14D7E-2F7E-4788-9E93-0832B332A4E2}">
      <dgm:prSet/>
      <dgm:spPr/>
      <dgm:t>
        <a:bodyPr/>
        <a:lstStyle/>
        <a:p>
          <a:endParaRPr lang="en-US"/>
        </a:p>
      </dgm:t>
    </dgm:pt>
    <dgm:pt modelId="{E000AAF4-66B8-49CB-A22F-DD5CADE72FFB}">
      <dgm:prSet phldrT="[Text]"/>
      <dgm:spPr/>
      <dgm:t>
        <a:bodyPr/>
        <a:lstStyle/>
        <a:p>
          <a:r>
            <a:rPr lang="en-US"/>
            <a:t>Information Arch</a:t>
          </a:r>
        </a:p>
      </dgm:t>
    </dgm:pt>
    <dgm:pt modelId="{903C6844-4BC6-4CD4-BBD2-4C4781DF0BFE}" type="parTrans" cxnId="{59456116-9893-40A5-AE3C-7B8559C97B94}">
      <dgm:prSet/>
      <dgm:spPr/>
      <dgm:t>
        <a:bodyPr/>
        <a:lstStyle/>
        <a:p>
          <a:endParaRPr lang="en-US"/>
        </a:p>
      </dgm:t>
    </dgm:pt>
    <dgm:pt modelId="{5B065CB0-D10C-41EF-BF10-4F8A061055A9}" type="sibTrans" cxnId="{59456116-9893-40A5-AE3C-7B8559C97B94}">
      <dgm:prSet/>
      <dgm:spPr/>
      <dgm:t>
        <a:bodyPr/>
        <a:lstStyle/>
        <a:p>
          <a:endParaRPr lang="en-US"/>
        </a:p>
      </dgm:t>
    </dgm:pt>
    <dgm:pt modelId="{C9DF1C0F-3D23-472A-9388-A1DE6F940739}" type="pres">
      <dgm:prSet presAssocID="{BC8D8F15-4CD6-4D3B-A33B-E82AFCAD763E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984D69C-F5A6-4B7E-B2BB-A279A10FC113}" type="pres">
      <dgm:prSet presAssocID="{EB9D1F52-43C8-4F30-89A1-0416FAC4467C}" presName="root" presStyleCnt="0"/>
      <dgm:spPr/>
    </dgm:pt>
    <dgm:pt modelId="{A4A9AE08-D250-4163-9EA6-BED055555CBD}" type="pres">
      <dgm:prSet presAssocID="{EB9D1F52-43C8-4F30-89A1-0416FAC4467C}" presName="rootComposite" presStyleCnt="0"/>
      <dgm:spPr/>
    </dgm:pt>
    <dgm:pt modelId="{702B2817-A697-4B7A-8A8A-FF0D2DE02C91}" type="pres">
      <dgm:prSet presAssocID="{EB9D1F52-43C8-4F30-89A1-0416FAC4467C}" presName="rootText" presStyleLbl="node1" presStyleIdx="0" presStyleCnt="2"/>
      <dgm:spPr/>
    </dgm:pt>
    <dgm:pt modelId="{3D9E2656-025A-4B3B-97FC-7DC12CC09C87}" type="pres">
      <dgm:prSet presAssocID="{EB9D1F52-43C8-4F30-89A1-0416FAC4467C}" presName="rootConnector" presStyleLbl="node1" presStyleIdx="0" presStyleCnt="2"/>
      <dgm:spPr/>
    </dgm:pt>
    <dgm:pt modelId="{5BC6BA72-A1DD-46EC-810B-0E5A30F51A1E}" type="pres">
      <dgm:prSet presAssocID="{EB9D1F52-43C8-4F30-89A1-0416FAC4467C}" presName="childShape" presStyleCnt="0"/>
      <dgm:spPr/>
    </dgm:pt>
    <dgm:pt modelId="{B2E07504-5BA7-4B7F-827C-BC8463DAA3A4}" type="pres">
      <dgm:prSet presAssocID="{A9DAC40B-DEA0-420C-8731-A2DBCBB3C9E0}" presName="Name13" presStyleLbl="parChTrans1D2" presStyleIdx="0" presStyleCnt="8"/>
      <dgm:spPr/>
    </dgm:pt>
    <dgm:pt modelId="{74D89467-65D9-4E8D-96A9-E78866BBC17E}" type="pres">
      <dgm:prSet presAssocID="{46A1ED61-1366-4F0E-B724-7E78D45B4295}" presName="childText" presStyleLbl="bgAcc1" presStyleIdx="0" presStyleCnt="8">
        <dgm:presLayoutVars>
          <dgm:bulletEnabled val="1"/>
        </dgm:presLayoutVars>
      </dgm:prSet>
      <dgm:spPr/>
    </dgm:pt>
    <dgm:pt modelId="{6FE86173-FD27-42C1-B1D6-5B853407CBF0}" type="pres">
      <dgm:prSet presAssocID="{CF3E8169-1501-4118-81DF-F0A6CF9E8165}" presName="Name13" presStyleLbl="parChTrans1D2" presStyleIdx="1" presStyleCnt="8"/>
      <dgm:spPr/>
    </dgm:pt>
    <dgm:pt modelId="{484C293B-7E44-43F2-9F5C-94C5F1E56453}" type="pres">
      <dgm:prSet presAssocID="{F2A15B6C-4076-43A6-BECA-F36E57FF3D97}" presName="childText" presStyleLbl="bgAcc1" presStyleIdx="1" presStyleCnt="8">
        <dgm:presLayoutVars>
          <dgm:bulletEnabled val="1"/>
        </dgm:presLayoutVars>
      </dgm:prSet>
      <dgm:spPr/>
    </dgm:pt>
    <dgm:pt modelId="{28C5D1AB-FA22-4A64-B26D-FB646AA60D75}" type="pres">
      <dgm:prSet presAssocID="{C7BF96F3-5343-4FB6-82BF-11B64AABFEFE}" presName="Name13" presStyleLbl="parChTrans1D2" presStyleIdx="2" presStyleCnt="8"/>
      <dgm:spPr/>
    </dgm:pt>
    <dgm:pt modelId="{80B4EAA5-935F-45D0-9BE9-37C9BAE59F7A}" type="pres">
      <dgm:prSet presAssocID="{46D37B89-8282-40E8-A179-672121D43DD5}" presName="childText" presStyleLbl="bgAcc1" presStyleIdx="2" presStyleCnt="8">
        <dgm:presLayoutVars>
          <dgm:bulletEnabled val="1"/>
        </dgm:presLayoutVars>
      </dgm:prSet>
      <dgm:spPr/>
    </dgm:pt>
    <dgm:pt modelId="{F0384E74-5F95-4569-99E0-E5B891A13245}" type="pres">
      <dgm:prSet presAssocID="{DEB47E6A-5847-4D67-BC61-C874576F531B}" presName="Name13" presStyleLbl="parChTrans1D2" presStyleIdx="3" presStyleCnt="8"/>
      <dgm:spPr/>
    </dgm:pt>
    <dgm:pt modelId="{420A6795-6C80-4A08-A1D6-E4A3CB667ED2}" type="pres">
      <dgm:prSet presAssocID="{D2A5ECB6-27A3-4BFA-AE73-9D702AC725EC}" presName="childText" presStyleLbl="bgAcc1" presStyleIdx="3" presStyleCnt="8">
        <dgm:presLayoutVars>
          <dgm:bulletEnabled val="1"/>
        </dgm:presLayoutVars>
      </dgm:prSet>
      <dgm:spPr/>
    </dgm:pt>
    <dgm:pt modelId="{5C4A381B-2A39-431B-96D5-4B04B7FC4B50}" type="pres">
      <dgm:prSet presAssocID="{222F9EF6-595C-4142-9138-CB8594157670}" presName="Name13" presStyleLbl="parChTrans1D2" presStyleIdx="4" presStyleCnt="8"/>
      <dgm:spPr/>
    </dgm:pt>
    <dgm:pt modelId="{4C6227F0-344A-42B8-92BB-6D0013E2F119}" type="pres">
      <dgm:prSet presAssocID="{E1D16971-C61E-4D72-9894-329CF10FA4D8}" presName="childText" presStyleLbl="bgAcc1" presStyleIdx="4" presStyleCnt="8">
        <dgm:presLayoutVars>
          <dgm:bulletEnabled val="1"/>
        </dgm:presLayoutVars>
      </dgm:prSet>
      <dgm:spPr/>
    </dgm:pt>
    <dgm:pt modelId="{394733D8-78B5-4B19-8E49-114DFE9167DD}" type="pres">
      <dgm:prSet presAssocID="{9B74D910-7B04-42A6-9BDB-581D35DD6E01}" presName="root" presStyleCnt="0"/>
      <dgm:spPr/>
    </dgm:pt>
    <dgm:pt modelId="{6335B459-8CD2-4910-ADB0-02DAAB0A967E}" type="pres">
      <dgm:prSet presAssocID="{9B74D910-7B04-42A6-9BDB-581D35DD6E01}" presName="rootComposite" presStyleCnt="0"/>
      <dgm:spPr/>
    </dgm:pt>
    <dgm:pt modelId="{40693755-87C6-4637-8C1D-DC26AEA391AB}" type="pres">
      <dgm:prSet presAssocID="{9B74D910-7B04-42A6-9BDB-581D35DD6E01}" presName="rootText" presStyleLbl="node1" presStyleIdx="1" presStyleCnt="2"/>
      <dgm:spPr/>
    </dgm:pt>
    <dgm:pt modelId="{EC023D66-D4C4-4048-9D47-450CF2ED4A53}" type="pres">
      <dgm:prSet presAssocID="{9B74D910-7B04-42A6-9BDB-581D35DD6E01}" presName="rootConnector" presStyleLbl="node1" presStyleIdx="1" presStyleCnt="2"/>
      <dgm:spPr/>
    </dgm:pt>
    <dgm:pt modelId="{8509C0B5-1B08-45DB-82E0-55F6C6F84376}" type="pres">
      <dgm:prSet presAssocID="{9B74D910-7B04-42A6-9BDB-581D35DD6E01}" presName="childShape" presStyleCnt="0"/>
      <dgm:spPr/>
    </dgm:pt>
    <dgm:pt modelId="{49E710A8-3C47-4965-AAF7-E400E08BAFD8}" type="pres">
      <dgm:prSet presAssocID="{7B1DFC78-62F9-4B56-80F2-EB0FCEDC8E0D}" presName="Name13" presStyleLbl="parChTrans1D2" presStyleIdx="5" presStyleCnt="8"/>
      <dgm:spPr/>
    </dgm:pt>
    <dgm:pt modelId="{723069C5-3C7B-455E-B831-A1351909B880}" type="pres">
      <dgm:prSet presAssocID="{7062F63F-7478-4280-A6D8-6A0090CF9190}" presName="childText" presStyleLbl="bgAcc1" presStyleIdx="5" presStyleCnt="8">
        <dgm:presLayoutVars>
          <dgm:bulletEnabled val="1"/>
        </dgm:presLayoutVars>
      </dgm:prSet>
      <dgm:spPr/>
    </dgm:pt>
    <dgm:pt modelId="{5F34324F-DA6E-47B4-B116-B6363845B3CE}" type="pres">
      <dgm:prSet presAssocID="{903C6844-4BC6-4CD4-BBD2-4C4781DF0BFE}" presName="Name13" presStyleLbl="parChTrans1D2" presStyleIdx="6" presStyleCnt="8"/>
      <dgm:spPr/>
    </dgm:pt>
    <dgm:pt modelId="{06A1D98D-23E6-401F-B6DB-31527C199FA4}" type="pres">
      <dgm:prSet presAssocID="{E000AAF4-66B8-49CB-A22F-DD5CADE72FFB}" presName="childText" presStyleLbl="bgAcc1" presStyleIdx="6" presStyleCnt="8">
        <dgm:presLayoutVars>
          <dgm:bulletEnabled val="1"/>
        </dgm:presLayoutVars>
      </dgm:prSet>
      <dgm:spPr/>
    </dgm:pt>
    <dgm:pt modelId="{A1534203-A277-4634-ABD4-59334488385E}" type="pres">
      <dgm:prSet presAssocID="{E29FD1F4-BA1F-466D-8D28-1D5F31854463}" presName="Name13" presStyleLbl="parChTrans1D2" presStyleIdx="7" presStyleCnt="8"/>
      <dgm:spPr/>
    </dgm:pt>
    <dgm:pt modelId="{C756F862-B002-4EBB-80B2-A880EA2C3DFF}" type="pres">
      <dgm:prSet presAssocID="{945B2D6C-8461-439B-BF92-BC5DAA60FA24}" presName="childText" presStyleLbl="bgAcc1" presStyleIdx="7" presStyleCnt="8">
        <dgm:presLayoutVars>
          <dgm:bulletEnabled val="1"/>
        </dgm:presLayoutVars>
      </dgm:prSet>
      <dgm:spPr/>
    </dgm:pt>
  </dgm:ptLst>
  <dgm:cxnLst>
    <dgm:cxn modelId="{62D44D0D-FB84-4164-82E6-81DB474861CF}" srcId="{BC8D8F15-4CD6-4D3B-A33B-E82AFCAD763E}" destId="{9B74D910-7B04-42A6-9BDB-581D35DD6E01}" srcOrd="1" destOrd="0" parTransId="{E0DA9079-3A23-4741-91FB-C5D6935F9AE4}" sibTransId="{EBAD3B77-BF82-4F9B-AB2D-6B7F7EE667B0}"/>
    <dgm:cxn modelId="{C607D20F-1C11-477E-ADBD-FAE2140701CE}" srcId="{EB9D1F52-43C8-4F30-89A1-0416FAC4467C}" destId="{D2A5ECB6-27A3-4BFA-AE73-9D702AC725EC}" srcOrd="3" destOrd="0" parTransId="{DEB47E6A-5847-4D67-BC61-C874576F531B}" sibTransId="{4BF31596-B7A1-4616-A406-849477F06DFC}"/>
    <dgm:cxn modelId="{47C73D10-2DE9-446A-9A6C-16FEC903ED54}" type="presOf" srcId="{E1D16971-C61E-4D72-9894-329CF10FA4D8}" destId="{4C6227F0-344A-42B8-92BB-6D0013E2F119}" srcOrd="0" destOrd="0" presId="urn:microsoft.com/office/officeart/2005/8/layout/hierarchy3"/>
    <dgm:cxn modelId="{59456116-9893-40A5-AE3C-7B8559C97B94}" srcId="{9B74D910-7B04-42A6-9BDB-581D35DD6E01}" destId="{E000AAF4-66B8-49CB-A22F-DD5CADE72FFB}" srcOrd="1" destOrd="0" parTransId="{903C6844-4BC6-4CD4-BBD2-4C4781DF0BFE}" sibTransId="{5B065CB0-D10C-41EF-BF10-4F8A061055A9}"/>
    <dgm:cxn modelId="{73DEB21C-2192-4043-951C-E1C561857D21}" type="presOf" srcId="{EB9D1F52-43C8-4F30-89A1-0416FAC4467C}" destId="{702B2817-A697-4B7A-8A8A-FF0D2DE02C91}" srcOrd="0" destOrd="0" presId="urn:microsoft.com/office/officeart/2005/8/layout/hierarchy3"/>
    <dgm:cxn modelId="{321E1021-5D9D-41CA-B9DB-17E2BAB8AAC9}" srcId="{EB9D1F52-43C8-4F30-89A1-0416FAC4467C}" destId="{46A1ED61-1366-4F0E-B724-7E78D45B4295}" srcOrd="0" destOrd="0" parTransId="{A9DAC40B-DEA0-420C-8731-A2DBCBB3C9E0}" sibTransId="{71A51445-CF4C-4043-9FB5-B53913F926A5}"/>
    <dgm:cxn modelId="{6EED595B-4EC5-4D9E-B4B5-D608E3EEB6DB}" type="presOf" srcId="{BC8D8F15-4CD6-4D3B-A33B-E82AFCAD763E}" destId="{C9DF1C0F-3D23-472A-9388-A1DE6F940739}" srcOrd="0" destOrd="0" presId="urn:microsoft.com/office/officeart/2005/8/layout/hierarchy3"/>
    <dgm:cxn modelId="{81A32066-9F1F-4B66-9BE6-160A8AB0123C}" srcId="{EB9D1F52-43C8-4F30-89A1-0416FAC4467C}" destId="{46D37B89-8282-40E8-A179-672121D43DD5}" srcOrd="2" destOrd="0" parTransId="{C7BF96F3-5343-4FB6-82BF-11B64AABFEFE}" sibTransId="{4B19FD69-B7BF-4F39-9C1D-E0D0833E828A}"/>
    <dgm:cxn modelId="{BD23D670-5DB9-4918-B1BF-ECA8BA3F73FD}" type="presOf" srcId="{F2A15B6C-4076-43A6-BECA-F36E57FF3D97}" destId="{484C293B-7E44-43F2-9F5C-94C5F1E56453}" srcOrd="0" destOrd="0" presId="urn:microsoft.com/office/officeart/2005/8/layout/hierarchy3"/>
    <dgm:cxn modelId="{C844EA72-564E-425D-9CA8-D4C496FFEFDA}" type="presOf" srcId="{CF3E8169-1501-4118-81DF-F0A6CF9E8165}" destId="{6FE86173-FD27-42C1-B1D6-5B853407CBF0}" srcOrd="0" destOrd="0" presId="urn:microsoft.com/office/officeart/2005/8/layout/hierarchy3"/>
    <dgm:cxn modelId="{38801B57-4680-4C49-BA1C-99E7D67E9D16}" type="presOf" srcId="{222F9EF6-595C-4142-9138-CB8594157670}" destId="{5C4A381B-2A39-431B-96D5-4B04B7FC4B50}" srcOrd="0" destOrd="0" presId="urn:microsoft.com/office/officeart/2005/8/layout/hierarchy3"/>
    <dgm:cxn modelId="{A402B057-F3A6-4BB7-9FEC-A38C79E2D2DA}" srcId="{9B74D910-7B04-42A6-9BDB-581D35DD6E01}" destId="{945B2D6C-8461-439B-BF92-BC5DAA60FA24}" srcOrd="2" destOrd="0" parTransId="{E29FD1F4-BA1F-466D-8D28-1D5F31854463}" sibTransId="{19AED103-3E37-410D-A831-7AF68741942D}"/>
    <dgm:cxn modelId="{8D8DA858-CFA0-4EB8-B0C3-1EC70ED2938C}" type="presOf" srcId="{E000AAF4-66B8-49CB-A22F-DD5CADE72FFB}" destId="{06A1D98D-23E6-401F-B6DB-31527C199FA4}" srcOrd="0" destOrd="0" presId="urn:microsoft.com/office/officeart/2005/8/layout/hierarchy3"/>
    <dgm:cxn modelId="{84F14D7E-2F7E-4788-9E93-0832B332A4E2}" srcId="{EB9D1F52-43C8-4F30-89A1-0416FAC4467C}" destId="{E1D16971-C61E-4D72-9894-329CF10FA4D8}" srcOrd="4" destOrd="0" parTransId="{222F9EF6-595C-4142-9138-CB8594157670}" sibTransId="{06BB8D75-1192-4365-9133-4101C7890A27}"/>
    <dgm:cxn modelId="{E66D8C85-83F4-47CE-8CEA-BFC4596D3C8C}" srcId="{BC8D8F15-4CD6-4D3B-A33B-E82AFCAD763E}" destId="{EB9D1F52-43C8-4F30-89A1-0416FAC4467C}" srcOrd="0" destOrd="0" parTransId="{A81C8973-97E5-4FE1-8904-A33066E2C279}" sibTransId="{666E76A7-61A7-415C-92A6-1301E7AEEF24}"/>
    <dgm:cxn modelId="{E8607C91-3898-4893-9E90-10AE8BDB87C3}" srcId="{EB9D1F52-43C8-4F30-89A1-0416FAC4467C}" destId="{F2A15B6C-4076-43A6-BECA-F36E57FF3D97}" srcOrd="1" destOrd="0" parTransId="{CF3E8169-1501-4118-81DF-F0A6CF9E8165}" sibTransId="{C2B5C5AC-01D8-4E5A-8666-98FEEF64E25E}"/>
    <dgm:cxn modelId="{BD80B294-FC5B-401C-ABC1-BF54B565BE5A}" type="presOf" srcId="{A9DAC40B-DEA0-420C-8731-A2DBCBB3C9E0}" destId="{B2E07504-5BA7-4B7F-827C-BC8463DAA3A4}" srcOrd="0" destOrd="0" presId="urn:microsoft.com/office/officeart/2005/8/layout/hierarchy3"/>
    <dgm:cxn modelId="{D4F7379A-C908-43EF-861C-D7244B1D2D6C}" type="presOf" srcId="{945B2D6C-8461-439B-BF92-BC5DAA60FA24}" destId="{C756F862-B002-4EBB-80B2-A880EA2C3DFF}" srcOrd="0" destOrd="0" presId="urn:microsoft.com/office/officeart/2005/8/layout/hierarchy3"/>
    <dgm:cxn modelId="{29DFD89A-6C9A-4394-90A6-FAAB200FDBF2}" type="presOf" srcId="{EB9D1F52-43C8-4F30-89A1-0416FAC4467C}" destId="{3D9E2656-025A-4B3B-97FC-7DC12CC09C87}" srcOrd="1" destOrd="0" presId="urn:microsoft.com/office/officeart/2005/8/layout/hierarchy3"/>
    <dgm:cxn modelId="{C3915BA0-D6F2-4A06-B278-9E823575E597}" type="presOf" srcId="{903C6844-4BC6-4CD4-BBD2-4C4781DF0BFE}" destId="{5F34324F-DA6E-47B4-B116-B6363845B3CE}" srcOrd="0" destOrd="0" presId="urn:microsoft.com/office/officeart/2005/8/layout/hierarchy3"/>
    <dgm:cxn modelId="{F69EC8A2-C323-45CF-A322-D3830EBD68F1}" type="presOf" srcId="{9B74D910-7B04-42A6-9BDB-581D35DD6E01}" destId="{40693755-87C6-4637-8C1D-DC26AEA391AB}" srcOrd="0" destOrd="0" presId="urn:microsoft.com/office/officeart/2005/8/layout/hierarchy3"/>
    <dgm:cxn modelId="{BD8228A7-4F56-4DEB-81A9-8132B2F0A8A7}" type="presOf" srcId="{9B74D910-7B04-42A6-9BDB-581D35DD6E01}" destId="{EC023D66-D4C4-4048-9D47-450CF2ED4A53}" srcOrd="1" destOrd="0" presId="urn:microsoft.com/office/officeart/2005/8/layout/hierarchy3"/>
    <dgm:cxn modelId="{E5D9B3AD-F779-4FE0-9087-C86C74A033BD}" type="presOf" srcId="{D2A5ECB6-27A3-4BFA-AE73-9D702AC725EC}" destId="{420A6795-6C80-4A08-A1D6-E4A3CB667ED2}" srcOrd="0" destOrd="0" presId="urn:microsoft.com/office/officeart/2005/8/layout/hierarchy3"/>
    <dgm:cxn modelId="{E3A015B0-4830-4311-9840-5DFEC328ACEC}" type="presOf" srcId="{7B1DFC78-62F9-4B56-80F2-EB0FCEDC8E0D}" destId="{49E710A8-3C47-4965-AAF7-E400E08BAFD8}" srcOrd="0" destOrd="0" presId="urn:microsoft.com/office/officeart/2005/8/layout/hierarchy3"/>
    <dgm:cxn modelId="{FC7F3BB6-BD30-4E57-8C84-958694C36E61}" type="presOf" srcId="{C7BF96F3-5343-4FB6-82BF-11B64AABFEFE}" destId="{28C5D1AB-FA22-4A64-B26D-FB646AA60D75}" srcOrd="0" destOrd="0" presId="urn:microsoft.com/office/officeart/2005/8/layout/hierarchy3"/>
    <dgm:cxn modelId="{BDEC6FBC-C2F7-4FFA-B7DC-66887AB52EAA}" type="presOf" srcId="{E29FD1F4-BA1F-466D-8D28-1D5F31854463}" destId="{A1534203-A277-4634-ABD4-59334488385E}" srcOrd="0" destOrd="0" presId="urn:microsoft.com/office/officeart/2005/8/layout/hierarchy3"/>
    <dgm:cxn modelId="{C9A708C2-D2CF-4A93-BB10-01C0EB88C298}" type="presOf" srcId="{46D37B89-8282-40E8-A179-672121D43DD5}" destId="{80B4EAA5-935F-45D0-9BE9-37C9BAE59F7A}" srcOrd="0" destOrd="0" presId="urn:microsoft.com/office/officeart/2005/8/layout/hierarchy3"/>
    <dgm:cxn modelId="{A3C177CE-6A12-46E3-945E-05C7EBB315EE}" srcId="{9B74D910-7B04-42A6-9BDB-581D35DD6E01}" destId="{7062F63F-7478-4280-A6D8-6A0090CF9190}" srcOrd="0" destOrd="0" parTransId="{7B1DFC78-62F9-4B56-80F2-EB0FCEDC8E0D}" sibTransId="{74A85D71-B61A-42AB-B143-7ECFBE5396FE}"/>
    <dgm:cxn modelId="{CF45ADD4-51BA-42B7-B29A-CF9B8FEEE2FA}" type="presOf" srcId="{DEB47E6A-5847-4D67-BC61-C874576F531B}" destId="{F0384E74-5F95-4569-99E0-E5B891A13245}" srcOrd="0" destOrd="0" presId="urn:microsoft.com/office/officeart/2005/8/layout/hierarchy3"/>
    <dgm:cxn modelId="{CD71CDDB-86E6-411E-9E33-8982472BFC8C}" type="presOf" srcId="{46A1ED61-1366-4F0E-B724-7E78D45B4295}" destId="{74D89467-65D9-4E8D-96A9-E78866BBC17E}" srcOrd="0" destOrd="0" presId="urn:microsoft.com/office/officeart/2005/8/layout/hierarchy3"/>
    <dgm:cxn modelId="{2BDEFDFF-8E1C-47F4-8AD5-94ECFA6FBBCB}" type="presOf" srcId="{7062F63F-7478-4280-A6D8-6A0090CF9190}" destId="{723069C5-3C7B-455E-B831-A1351909B880}" srcOrd="0" destOrd="0" presId="urn:microsoft.com/office/officeart/2005/8/layout/hierarchy3"/>
    <dgm:cxn modelId="{5296CA9B-F121-418B-9FD8-F08A7A7FD065}" type="presParOf" srcId="{C9DF1C0F-3D23-472A-9388-A1DE6F940739}" destId="{F984D69C-F5A6-4B7E-B2BB-A279A10FC113}" srcOrd="0" destOrd="0" presId="urn:microsoft.com/office/officeart/2005/8/layout/hierarchy3"/>
    <dgm:cxn modelId="{F722A571-4C94-462E-A439-AD1F452B983E}" type="presParOf" srcId="{F984D69C-F5A6-4B7E-B2BB-A279A10FC113}" destId="{A4A9AE08-D250-4163-9EA6-BED055555CBD}" srcOrd="0" destOrd="0" presId="urn:microsoft.com/office/officeart/2005/8/layout/hierarchy3"/>
    <dgm:cxn modelId="{AC444399-EE78-45C1-AC65-673746D0200F}" type="presParOf" srcId="{A4A9AE08-D250-4163-9EA6-BED055555CBD}" destId="{702B2817-A697-4B7A-8A8A-FF0D2DE02C91}" srcOrd="0" destOrd="0" presId="urn:microsoft.com/office/officeart/2005/8/layout/hierarchy3"/>
    <dgm:cxn modelId="{E440CBA1-402B-412C-BB2A-19E7541752A9}" type="presParOf" srcId="{A4A9AE08-D250-4163-9EA6-BED055555CBD}" destId="{3D9E2656-025A-4B3B-97FC-7DC12CC09C87}" srcOrd="1" destOrd="0" presId="urn:microsoft.com/office/officeart/2005/8/layout/hierarchy3"/>
    <dgm:cxn modelId="{94201008-CBD0-4A0E-9043-841583BF11E8}" type="presParOf" srcId="{F984D69C-F5A6-4B7E-B2BB-A279A10FC113}" destId="{5BC6BA72-A1DD-46EC-810B-0E5A30F51A1E}" srcOrd="1" destOrd="0" presId="urn:microsoft.com/office/officeart/2005/8/layout/hierarchy3"/>
    <dgm:cxn modelId="{01A23FAC-8907-4593-8B14-DF518B4EEAB4}" type="presParOf" srcId="{5BC6BA72-A1DD-46EC-810B-0E5A30F51A1E}" destId="{B2E07504-5BA7-4B7F-827C-BC8463DAA3A4}" srcOrd="0" destOrd="0" presId="urn:microsoft.com/office/officeart/2005/8/layout/hierarchy3"/>
    <dgm:cxn modelId="{73CCA81C-7E1E-4A6C-BC39-EC843CDB09AF}" type="presParOf" srcId="{5BC6BA72-A1DD-46EC-810B-0E5A30F51A1E}" destId="{74D89467-65D9-4E8D-96A9-E78866BBC17E}" srcOrd="1" destOrd="0" presId="urn:microsoft.com/office/officeart/2005/8/layout/hierarchy3"/>
    <dgm:cxn modelId="{ECDD4AE0-078C-4465-91DE-EEAAF6636730}" type="presParOf" srcId="{5BC6BA72-A1DD-46EC-810B-0E5A30F51A1E}" destId="{6FE86173-FD27-42C1-B1D6-5B853407CBF0}" srcOrd="2" destOrd="0" presId="urn:microsoft.com/office/officeart/2005/8/layout/hierarchy3"/>
    <dgm:cxn modelId="{D1C1CB51-1240-47BD-89C3-2CCA20B0623B}" type="presParOf" srcId="{5BC6BA72-A1DD-46EC-810B-0E5A30F51A1E}" destId="{484C293B-7E44-43F2-9F5C-94C5F1E56453}" srcOrd="3" destOrd="0" presId="urn:microsoft.com/office/officeart/2005/8/layout/hierarchy3"/>
    <dgm:cxn modelId="{B29D139B-37DA-4268-AE63-A4E8B6F97413}" type="presParOf" srcId="{5BC6BA72-A1DD-46EC-810B-0E5A30F51A1E}" destId="{28C5D1AB-FA22-4A64-B26D-FB646AA60D75}" srcOrd="4" destOrd="0" presId="urn:microsoft.com/office/officeart/2005/8/layout/hierarchy3"/>
    <dgm:cxn modelId="{184F2F8C-E41D-4C83-AB7C-84D2EF27F1C8}" type="presParOf" srcId="{5BC6BA72-A1DD-46EC-810B-0E5A30F51A1E}" destId="{80B4EAA5-935F-45D0-9BE9-37C9BAE59F7A}" srcOrd="5" destOrd="0" presId="urn:microsoft.com/office/officeart/2005/8/layout/hierarchy3"/>
    <dgm:cxn modelId="{D1D18703-8CB4-454B-AC27-F39E3DE16A2E}" type="presParOf" srcId="{5BC6BA72-A1DD-46EC-810B-0E5A30F51A1E}" destId="{F0384E74-5F95-4569-99E0-E5B891A13245}" srcOrd="6" destOrd="0" presId="urn:microsoft.com/office/officeart/2005/8/layout/hierarchy3"/>
    <dgm:cxn modelId="{C1ED29A8-42B1-44C1-A874-5BF80987D6DC}" type="presParOf" srcId="{5BC6BA72-A1DD-46EC-810B-0E5A30F51A1E}" destId="{420A6795-6C80-4A08-A1D6-E4A3CB667ED2}" srcOrd="7" destOrd="0" presId="urn:microsoft.com/office/officeart/2005/8/layout/hierarchy3"/>
    <dgm:cxn modelId="{4A867764-652F-4E0C-B532-F95304D7FF83}" type="presParOf" srcId="{5BC6BA72-A1DD-46EC-810B-0E5A30F51A1E}" destId="{5C4A381B-2A39-431B-96D5-4B04B7FC4B50}" srcOrd="8" destOrd="0" presId="urn:microsoft.com/office/officeart/2005/8/layout/hierarchy3"/>
    <dgm:cxn modelId="{40D91A7F-9E84-48C7-ACAD-A56C07F169AD}" type="presParOf" srcId="{5BC6BA72-A1DD-46EC-810B-0E5A30F51A1E}" destId="{4C6227F0-344A-42B8-92BB-6D0013E2F119}" srcOrd="9" destOrd="0" presId="urn:microsoft.com/office/officeart/2005/8/layout/hierarchy3"/>
    <dgm:cxn modelId="{35F402E1-528B-4E1C-A011-E9CCB69A8B38}" type="presParOf" srcId="{C9DF1C0F-3D23-472A-9388-A1DE6F940739}" destId="{394733D8-78B5-4B19-8E49-114DFE9167DD}" srcOrd="1" destOrd="0" presId="urn:microsoft.com/office/officeart/2005/8/layout/hierarchy3"/>
    <dgm:cxn modelId="{50414F84-DEF4-44AE-A04C-16B7ED453710}" type="presParOf" srcId="{394733D8-78B5-4B19-8E49-114DFE9167DD}" destId="{6335B459-8CD2-4910-ADB0-02DAAB0A967E}" srcOrd="0" destOrd="0" presId="urn:microsoft.com/office/officeart/2005/8/layout/hierarchy3"/>
    <dgm:cxn modelId="{AFD3BCE5-31A8-42EA-BB65-0F896DFEA567}" type="presParOf" srcId="{6335B459-8CD2-4910-ADB0-02DAAB0A967E}" destId="{40693755-87C6-4637-8C1D-DC26AEA391AB}" srcOrd="0" destOrd="0" presId="urn:microsoft.com/office/officeart/2005/8/layout/hierarchy3"/>
    <dgm:cxn modelId="{94A740DD-013D-4E6F-8C84-BD3218427354}" type="presParOf" srcId="{6335B459-8CD2-4910-ADB0-02DAAB0A967E}" destId="{EC023D66-D4C4-4048-9D47-450CF2ED4A53}" srcOrd="1" destOrd="0" presId="urn:microsoft.com/office/officeart/2005/8/layout/hierarchy3"/>
    <dgm:cxn modelId="{C9E36E34-7C2C-4C2C-8921-0162D8867AA2}" type="presParOf" srcId="{394733D8-78B5-4B19-8E49-114DFE9167DD}" destId="{8509C0B5-1B08-45DB-82E0-55F6C6F84376}" srcOrd="1" destOrd="0" presId="urn:microsoft.com/office/officeart/2005/8/layout/hierarchy3"/>
    <dgm:cxn modelId="{B63CAA82-09E0-40FC-8340-375777A7812E}" type="presParOf" srcId="{8509C0B5-1B08-45DB-82E0-55F6C6F84376}" destId="{49E710A8-3C47-4965-AAF7-E400E08BAFD8}" srcOrd="0" destOrd="0" presId="urn:microsoft.com/office/officeart/2005/8/layout/hierarchy3"/>
    <dgm:cxn modelId="{57D318FE-991A-4800-B797-44B9BF976634}" type="presParOf" srcId="{8509C0B5-1B08-45DB-82E0-55F6C6F84376}" destId="{723069C5-3C7B-455E-B831-A1351909B880}" srcOrd="1" destOrd="0" presId="urn:microsoft.com/office/officeart/2005/8/layout/hierarchy3"/>
    <dgm:cxn modelId="{B448B9D1-1DA5-4D46-A1AC-01E72AE4519F}" type="presParOf" srcId="{8509C0B5-1B08-45DB-82E0-55F6C6F84376}" destId="{5F34324F-DA6E-47B4-B116-B6363845B3CE}" srcOrd="2" destOrd="0" presId="urn:microsoft.com/office/officeart/2005/8/layout/hierarchy3"/>
    <dgm:cxn modelId="{48289644-E69F-467B-AB2A-90A5F792F793}" type="presParOf" srcId="{8509C0B5-1B08-45DB-82E0-55F6C6F84376}" destId="{06A1D98D-23E6-401F-B6DB-31527C199FA4}" srcOrd="3" destOrd="0" presId="urn:microsoft.com/office/officeart/2005/8/layout/hierarchy3"/>
    <dgm:cxn modelId="{F81FB588-5F86-4EB8-B9DC-67E3F10475C0}" type="presParOf" srcId="{8509C0B5-1B08-45DB-82E0-55F6C6F84376}" destId="{A1534203-A277-4634-ABD4-59334488385E}" srcOrd="4" destOrd="0" presId="urn:microsoft.com/office/officeart/2005/8/layout/hierarchy3"/>
    <dgm:cxn modelId="{5B539335-423B-47DE-A959-BB6F5A0D1AF5}" type="presParOf" srcId="{8509C0B5-1B08-45DB-82E0-55F6C6F84376}" destId="{C756F862-B002-4EBB-80B2-A880EA2C3DFF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725ABA9-697C-43EB-8FAD-2536352FB00F}" type="doc">
      <dgm:prSet loTypeId="urn:microsoft.com/office/officeart/2005/8/layout/lProcess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EAF23E2-4732-4D9D-90D1-89F1FB4C36A3}">
      <dgm:prSet phldrT="[Text]" custT="1"/>
      <dgm:spPr/>
      <dgm:t>
        <a:bodyPr/>
        <a:lstStyle/>
        <a:p>
          <a:r>
            <a:rPr lang="en-US" sz="1400"/>
            <a:t>Business Unit CIO Team</a:t>
          </a:r>
        </a:p>
      </dgm:t>
    </dgm:pt>
    <dgm:pt modelId="{8E2936F3-4962-4E42-B3BC-9E55D9AC164F}" type="parTrans" cxnId="{F1936252-E53D-462E-BA3C-E92EFC4F295D}">
      <dgm:prSet/>
      <dgm:spPr/>
      <dgm:t>
        <a:bodyPr/>
        <a:lstStyle/>
        <a:p>
          <a:endParaRPr lang="en-US"/>
        </a:p>
      </dgm:t>
    </dgm:pt>
    <dgm:pt modelId="{88B02EC5-A30C-4B98-9079-EF009B7EFE10}" type="sibTrans" cxnId="{F1936252-E53D-462E-BA3C-E92EFC4F295D}">
      <dgm:prSet/>
      <dgm:spPr/>
      <dgm:t>
        <a:bodyPr/>
        <a:lstStyle/>
        <a:p>
          <a:endParaRPr lang="en-US"/>
        </a:p>
      </dgm:t>
    </dgm:pt>
    <dgm:pt modelId="{18A09E44-21B4-45CF-8938-50FAE183EDE1}">
      <dgm:prSet phldrT="[Text]"/>
      <dgm:spPr/>
      <dgm:t>
        <a:bodyPr/>
        <a:lstStyle/>
        <a:p>
          <a:r>
            <a:rPr lang="en-US"/>
            <a:t>Programs</a:t>
          </a:r>
        </a:p>
      </dgm:t>
    </dgm:pt>
    <dgm:pt modelId="{178E6F7F-CB6E-4A13-9F59-A79BD1E48042}" type="parTrans" cxnId="{B7851975-D35E-4CC4-A19A-4718457D2FD5}">
      <dgm:prSet/>
      <dgm:spPr/>
      <dgm:t>
        <a:bodyPr/>
        <a:lstStyle/>
        <a:p>
          <a:endParaRPr lang="en-US"/>
        </a:p>
      </dgm:t>
    </dgm:pt>
    <dgm:pt modelId="{192533A3-C30E-40B8-A07E-4404B38BCCFB}" type="sibTrans" cxnId="{B7851975-D35E-4CC4-A19A-4718457D2FD5}">
      <dgm:prSet/>
      <dgm:spPr/>
      <dgm:t>
        <a:bodyPr/>
        <a:lstStyle/>
        <a:p>
          <a:endParaRPr lang="en-US"/>
        </a:p>
      </dgm:t>
    </dgm:pt>
    <dgm:pt modelId="{B25E5940-9938-4BAF-B89A-2FC2C595AF4F}">
      <dgm:prSet phldrT="[Text]"/>
      <dgm:spPr/>
      <dgm:t>
        <a:bodyPr/>
        <a:lstStyle/>
        <a:p>
          <a:r>
            <a:rPr lang="en-US"/>
            <a:t>Digital</a:t>
          </a:r>
        </a:p>
      </dgm:t>
    </dgm:pt>
    <dgm:pt modelId="{BAE15EBA-766A-4D59-B2DC-8F73670046F0}" type="parTrans" cxnId="{2C85682C-3927-4B92-B351-23C4EC5825DC}">
      <dgm:prSet/>
      <dgm:spPr/>
      <dgm:t>
        <a:bodyPr/>
        <a:lstStyle/>
        <a:p>
          <a:endParaRPr lang="en-US"/>
        </a:p>
      </dgm:t>
    </dgm:pt>
    <dgm:pt modelId="{328ADA21-DD34-4517-8EF1-49BE9425F723}" type="sibTrans" cxnId="{2C85682C-3927-4B92-B351-23C4EC5825DC}">
      <dgm:prSet/>
      <dgm:spPr/>
      <dgm:t>
        <a:bodyPr/>
        <a:lstStyle/>
        <a:p>
          <a:endParaRPr lang="en-US"/>
        </a:p>
      </dgm:t>
    </dgm:pt>
    <dgm:pt modelId="{309644FE-7EB0-4F98-903E-78C17BC418F2}">
      <dgm:prSet phldrT="[Text]" custT="1"/>
      <dgm:spPr/>
      <dgm:t>
        <a:bodyPr/>
        <a:lstStyle/>
        <a:p>
          <a:r>
            <a:rPr lang="en-US" sz="1400"/>
            <a:t>Business Unit CIO Team</a:t>
          </a:r>
        </a:p>
      </dgm:t>
    </dgm:pt>
    <dgm:pt modelId="{ED4967BA-90FC-4F03-8548-D5169EF245A9}" type="parTrans" cxnId="{6109BB6B-B548-43FF-BA56-DBC132F526C9}">
      <dgm:prSet/>
      <dgm:spPr/>
      <dgm:t>
        <a:bodyPr/>
        <a:lstStyle/>
        <a:p>
          <a:endParaRPr lang="en-US"/>
        </a:p>
      </dgm:t>
    </dgm:pt>
    <dgm:pt modelId="{28B97DD7-623A-4156-A16E-10C9E2EFFA37}" type="sibTrans" cxnId="{6109BB6B-B548-43FF-BA56-DBC132F526C9}">
      <dgm:prSet/>
      <dgm:spPr/>
      <dgm:t>
        <a:bodyPr/>
        <a:lstStyle/>
        <a:p>
          <a:endParaRPr lang="en-US"/>
        </a:p>
      </dgm:t>
    </dgm:pt>
    <dgm:pt modelId="{CB348CCB-FED1-47BC-9861-3A6F3CC01C62}">
      <dgm:prSet phldrT="[Text]"/>
      <dgm:spPr/>
      <dgm:t>
        <a:bodyPr/>
        <a:lstStyle/>
        <a:p>
          <a:r>
            <a:rPr lang="en-US"/>
            <a:t>Programs</a:t>
          </a:r>
        </a:p>
      </dgm:t>
    </dgm:pt>
    <dgm:pt modelId="{9F42A86A-5379-47DC-B1AA-3BDD766F18DC}" type="parTrans" cxnId="{F8687A58-C4CA-4490-A10B-9E54C7AA8A18}">
      <dgm:prSet/>
      <dgm:spPr/>
      <dgm:t>
        <a:bodyPr/>
        <a:lstStyle/>
        <a:p>
          <a:endParaRPr lang="en-US"/>
        </a:p>
      </dgm:t>
    </dgm:pt>
    <dgm:pt modelId="{C44A93BB-1648-496F-82DE-6EE6DE721EF5}" type="sibTrans" cxnId="{F8687A58-C4CA-4490-A10B-9E54C7AA8A18}">
      <dgm:prSet/>
      <dgm:spPr/>
      <dgm:t>
        <a:bodyPr/>
        <a:lstStyle/>
        <a:p>
          <a:endParaRPr lang="en-US"/>
        </a:p>
      </dgm:t>
    </dgm:pt>
    <dgm:pt modelId="{1147858E-A6E1-4CFC-973D-7D5B8C47C4CC}">
      <dgm:prSet phldrT="[Text]" custT="1"/>
      <dgm:spPr/>
      <dgm:t>
        <a:bodyPr/>
        <a:lstStyle/>
        <a:p>
          <a:r>
            <a:rPr lang="en-US" sz="1400"/>
            <a:t>Business Unit CIO Team</a:t>
          </a:r>
        </a:p>
      </dgm:t>
    </dgm:pt>
    <dgm:pt modelId="{062AA384-023F-415A-8F5D-F062B0D72C62}" type="parTrans" cxnId="{E88421F0-10BC-49B8-8DB0-56C93AA8A174}">
      <dgm:prSet/>
      <dgm:spPr/>
      <dgm:t>
        <a:bodyPr/>
        <a:lstStyle/>
        <a:p>
          <a:endParaRPr lang="en-US"/>
        </a:p>
      </dgm:t>
    </dgm:pt>
    <dgm:pt modelId="{AE7C35A7-5EAA-407F-92C2-EF69751AB65E}" type="sibTrans" cxnId="{E88421F0-10BC-49B8-8DB0-56C93AA8A174}">
      <dgm:prSet/>
      <dgm:spPr/>
      <dgm:t>
        <a:bodyPr/>
        <a:lstStyle/>
        <a:p>
          <a:endParaRPr lang="en-US"/>
        </a:p>
      </dgm:t>
    </dgm:pt>
    <dgm:pt modelId="{F8141332-D836-446A-8269-B7F59B2FE249}">
      <dgm:prSet phldrT="[Text]"/>
      <dgm:spPr/>
      <dgm:t>
        <a:bodyPr/>
        <a:lstStyle/>
        <a:p>
          <a:r>
            <a:rPr lang="en-US"/>
            <a:t>Programs</a:t>
          </a:r>
        </a:p>
      </dgm:t>
    </dgm:pt>
    <dgm:pt modelId="{BA6521F4-EFFA-4614-94EF-B71A8B9EA41C}" type="parTrans" cxnId="{F80DBAB3-93AD-4F0E-A760-311AE7F48C43}">
      <dgm:prSet/>
      <dgm:spPr/>
      <dgm:t>
        <a:bodyPr/>
        <a:lstStyle/>
        <a:p>
          <a:endParaRPr lang="en-US"/>
        </a:p>
      </dgm:t>
    </dgm:pt>
    <dgm:pt modelId="{FFE080C1-1419-4CAC-9EC3-B4A90C36BEFE}" type="sibTrans" cxnId="{F80DBAB3-93AD-4F0E-A760-311AE7F48C43}">
      <dgm:prSet/>
      <dgm:spPr/>
      <dgm:t>
        <a:bodyPr/>
        <a:lstStyle/>
        <a:p>
          <a:endParaRPr lang="en-US"/>
        </a:p>
      </dgm:t>
    </dgm:pt>
    <dgm:pt modelId="{D7EAC5F4-3DC3-47AA-A971-54AA766304E2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A5001064-7492-4C00-8929-5E381B9DBD6B}" type="parTrans" cxnId="{B45E3F87-C697-41F6-B065-C6A7B2960F7E}">
      <dgm:prSet/>
      <dgm:spPr/>
      <dgm:t>
        <a:bodyPr/>
        <a:lstStyle/>
        <a:p>
          <a:endParaRPr lang="en-US"/>
        </a:p>
      </dgm:t>
    </dgm:pt>
    <dgm:pt modelId="{298FFD60-D39A-4110-9901-CC67F1DD5BFD}" type="sibTrans" cxnId="{B45E3F87-C697-41F6-B065-C6A7B2960F7E}">
      <dgm:prSet/>
      <dgm:spPr/>
      <dgm:t>
        <a:bodyPr/>
        <a:lstStyle/>
        <a:p>
          <a:endParaRPr lang="en-US"/>
        </a:p>
      </dgm:t>
    </dgm:pt>
    <dgm:pt modelId="{0A3A3B09-9928-4685-95DA-3105881903C7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E2045C6A-309D-4032-A055-EE240E419870}" type="parTrans" cxnId="{FCE8A9FE-9C65-4DC5-BFCE-38CE5050B471}">
      <dgm:prSet/>
      <dgm:spPr/>
      <dgm:t>
        <a:bodyPr/>
        <a:lstStyle/>
        <a:p>
          <a:endParaRPr lang="en-US"/>
        </a:p>
      </dgm:t>
    </dgm:pt>
    <dgm:pt modelId="{E63AA97B-1D33-476A-9F02-9D0921A22E62}" type="sibTrans" cxnId="{FCE8A9FE-9C65-4DC5-BFCE-38CE5050B471}">
      <dgm:prSet/>
      <dgm:spPr/>
      <dgm:t>
        <a:bodyPr/>
        <a:lstStyle/>
        <a:p>
          <a:endParaRPr lang="en-US"/>
        </a:p>
      </dgm:t>
    </dgm:pt>
    <dgm:pt modelId="{A676ED88-1A6E-48ED-8B87-72EF8F428413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32513193-294E-441B-8E28-6187DAACDEA5}" type="parTrans" cxnId="{56FE8508-81BC-48AA-8697-2B4E62A14A39}">
      <dgm:prSet/>
      <dgm:spPr/>
      <dgm:t>
        <a:bodyPr/>
        <a:lstStyle/>
        <a:p>
          <a:endParaRPr lang="en-US"/>
        </a:p>
      </dgm:t>
    </dgm:pt>
    <dgm:pt modelId="{F90A566A-8954-4E2C-BEAB-1AFB06EFB512}" type="sibTrans" cxnId="{56FE8508-81BC-48AA-8697-2B4E62A14A39}">
      <dgm:prSet/>
      <dgm:spPr/>
      <dgm:t>
        <a:bodyPr/>
        <a:lstStyle/>
        <a:p>
          <a:endParaRPr lang="en-US"/>
        </a:p>
      </dgm:t>
    </dgm:pt>
    <dgm:pt modelId="{500B4A28-5C8F-4E63-A518-645190E17CA9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A30371BF-D194-497D-AD42-CFBA98A83F39}" type="parTrans" cxnId="{6BE7326C-0964-4627-84DB-365DE04DCDD2}">
      <dgm:prSet/>
      <dgm:spPr/>
      <dgm:t>
        <a:bodyPr/>
        <a:lstStyle/>
        <a:p>
          <a:endParaRPr lang="en-US"/>
        </a:p>
      </dgm:t>
    </dgm:pt>
    <dgm:pt modelId="{CFA647FD-4FFC-4AA9-BC10-72DE2754FCD1}" type="sibTrans" cxnId="{6BE7326C-0964-4627-84DB-365DE04DCDD2}">
      <dgm:prSet/>
      <dgm:spPr/>
      <dgm:t>
        <a:bodyPr/>
        <a:lstStyle/>
        <a:p>
          <a:endParaRPr lang="en-US"/>
        </a:p>
      </dgm:t>
    </dgm:pt>
    <dgm:pt modelId="{46006186-60CC-4977-AD02-2CE404D4C476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501BB91F-ACC1-4119-B86F-3F69DBF8596A}" type="parTrans" cxnId="{C909710D-5A8D-4200-95B7-FF2175D6EBCA}">
      <dgm:prSet/>
      <dgm:spPr/>
      <dgm:t>
        <a:bodyPr/>
        <a:lstStyle/>
        <a:p>
          <a:endParaRPr lang="en-US"/>
        </a:p>
      </dgm:t>
    </dgm:pt>
    <dgm:pt modelId="{48CBB53B-F98C-4E62-8160-C4DC25AA82E1}" type="sibTrans" cxnId="{C909710D-5A8D-4200-95B7-FF2175D6EBCA}">
      <dgm:prSet/>
      <dgm:spPr/>
      <dgm:t>
        <a:bodyPr/>
        <a:lstStyle/>
        <a:p>
          <a:endParaRPr lang="en-US"/>
        </a:p>
      </dgm:t>
    </dgm:pt>
    <dgm:pt modelId="{7F41BD24-EF34-4FAB-91D7-5D76BB1A389A}">
      <dgm:prSet phldrT="[Text]"/>
      <dgm:spPr/>
      <dgm:t>
        <a:bodyPr/>
        <a:lstStyle/>
        <a:p>
          <a:r>
            <a:rPr lang="en-US"/>
            <a:t>App Rat</a:t>
          </a:r>
        </a:p>
      </dgm:t>
    </dgm:pt>
    <dgm:pt modelId="{3B7FD726-3612-4EF7-8C7E-63F12250DEE6}" type="parTrans" cxnId="{1CA7EC59-5D78-473E-91BA-1FEE994B048E}">
      <dgm:prSet/>
      <dgm:spPr/>
      <dgm:t>
        <a:bodyPr/>
        <a:lstStyle/>
        <a:p>
          <a:endParaRPr lang="en-US"/>
        </a:p>
      </dgm:t>
    </dgm:pt>
    <dgm:pt modelId="{C2783F59-34C4-4CE3-AFD7-76F20938325C}" type="sibTrans" cxnId="{1CA7EC59-5D78-473E-91BA-1FEE994B048E}">
      <dgm:prSet/>
      <dgm:spPr/>
      <dgm:t>
        <a:bodyPr/>
        <a:lstStyle/>
        <a:p>
          <a:endParaRPr lang="en-US"/>
        </a:p>
      </dgm:t>
    </dgm:pt>
    <dgm:pt modelId="{8493E3A8-8940-44CA-83E3-DA76FA9FD680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62255974-6DEC-48A3-BE1F-2FF7352CDE47}" type="parTrans" cxnId="{177238E0-DB10-4064-873F-30DD116769E9}">
      <dgm:prSet/>
      <dgm:spPr/>
      <dgm:t>
        <a:bodyPr/>
        <a:lstStyle/>
        <a:p>
          <a:endParaRPr lang="en-US"/>
        </a:p>
      </dgm:t>
    </dgm:pt>
    <dgm:pt modelId="{5C44F6DB-AD81-4B9A-8190-0B717AC4DCE6}" type="sibTrans" cxnId="{177238E0-DB10-4064-873F-30DD116769E9}">
      <dgm:prSet/>
      <dgm:spPr/>
      <dgm:t>
        <a:bodyPr/>
        <a:lstStyle/>
        <a:p>
          <a:endParaRPr lang="en-US"/>
        </a:p>
      </dgm:t>
    </dgm:pt>
    <dgm:pt modelId="{3A386B03-2BF9-4F6D-AA08-A39ECECB705F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C693B2AB-E2E0-4543-8451-F16783067CBB}" type="parTrans" cxnId="{23BA83B2-2D47-4482-A165-D9457C565559}">
      <dgm:prSet/>
      <dgm:spPr/>
      <dgm:t>
        <a:bodyPr/>
        <a:lstStyle/>
        <a:p>
          <a:endParaRPr lang="en-US"/>
        </a:p>
      </dgm:t>
    </dgm:pt>
    <dgm:pt modelId="{C2A62021-F029-41F9-807F-B01B52967DCA}" type="sibTrans" cxnId="{23BA83B2-2D47-4482-A165-D9457C565559}">
      <dgm:prSet/>
      <dgm:spPr/>
      <dgm:t>
        <a:bodyPr/>
        <a:lstStyle/>
        <a:p>
          <a:endParaRPr lang="en-US"/>
        </a:p>
      </dgm:t>
    </dgm:pt>
    <dgm:pt modelId="{A3A79977-7117-4549-BD6A-986D6356DC53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67DC7542-A4A8-47E5-A2DC-0729A469BD0D}" type="parTrans" cxnId="{1D321584-B139-43F3-B7E8-AF2D7B0EE907}">
      <dgm:prSet/>
      <dgm:spPr/>
      <dgm:t>
        <a:bodyPr/>
        <a:lstStyle/>
        <a:p>
          <a:endParaRPr lang="en-US"/>
        </a:p>
      </dgm:t>
    </dgm:pt>
    <dgm:pt modelId="{3AAE1CCE-BC10-475A-BE41-DC864E09C7DD}" type="sibTrans" cxnId="{1D321584-B139-43F3-B7E8-AF2D7B0EE907}">
      <dgm:prSet/>
      <dgm:spPr/>
      <dgm:t>
        <a:bodyPr/>
        <a:lstStyle/>
        <a:p>
          <a:endParaRPr lang="en-US"/>
        </a:p>
      </dgm:t>
    </dgm:pt>
    <dgm:pt modelId="{DD7FF35C-BB7E-4CF3-95CE-55685F94F46D}">
      <dgm:prSet phldrT="[Text]"/>
      <dgm:spPr/>
      <dgm:t>
        <a:bodyPr/>
        <a:lstStyle/>
        <a:p>
          <a:r>
            <a:rPr lang="en-US"/>
            <a:t>Digital</a:t>
          </a:r>
        </a:p>
      </dgm:t>
    </dgm:pt>
    <dgm:pt modelId="{A9C5F2D0-D63E-4CCA-80CC-B18BED044109}" type="parTrans" cxnId="{440F689F-8511-423C-A007-4DEE1E0A5736}">
      <dgm:prSet/>
      <dgm:spPr/>
      <dgm:t>
        <a:bodyPr/>
        <a:lstStyle/>
        <a:p>
          <a:endParaRPr lang="en-US"/>
        </a:p>
      </dgm:t>
    </dgm:pt>
    <dgm:pt modelId="{85252C95-A358-4C4E-BB36-5C88C7B0D63C}" type="sibTrans" cxnId="{440F689F-8511-423C-A007-4DEE1E0A5736}">
      <dgm:prSet/>
      <dgm:spPr/>
      <dgm:t>
        <a:bodyPr/>
        <a:lstStyle/>
        <a:p>
          <a:endParaRPr lang="en-US"/>
        </a:p>
      </dgm:t>
    </dgm:pt>
    <dgm:pt modelId="{4B94EC51-4BFB-4122-BB8F-5D87A2169C10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22EA2CF3-2BDA-430A-9ABC-1ACF9D53E017}" type="parTrans" cxnId="{989742E6-C5C9-429C-8F86-081E7D2201DE}">
      <dgm:prSet/>
      <dgm:spPr/>
      <dgm:t>
        <a:bodyPr/>
        <a:lstStyle/>
        <a:p>
          <a:endParaRPr lang="en-US"/>
        </a:p>
      </dgm:t>
    </dgm:pt>
    <dgm:pt modelId="{91437A47-B52C-4749-82CC-C1D068077B1B}" type="sibTrans" cxnId="{989742E6-C5C9-429C-8F86-081E7D2201DE}">
      <dgm:prSet/>
      <dgm:spPr/>
      <dgm:t>
        <a:bodyPr/>
        <a:lstStyle/>
        <a:p>
          <a:endParaRPr lang="en-US"/>
        </a:p>
      </dgm:t>
    </dgm:pt>
    <dgm:pt modelId="{0EDD931E-32D9-4CDD-94AC-A8EC6A0D1F27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480B9C8E-2F61-4A9B-AB75-C71B5E0B8355}" type="parTrans" cxnId="{F1B6ED8C-711F-4DAC-9512-A9372ACA20D2}">
      <dgm:prSet/>
      <dgm:spPr/>
      <dgm:t>
        <a:bodyPr/>
        <a:lstStyle/>
        <a:p>
          <a:endParaRPr lang="en-US"/>
        </a:p>
      </dgm:t>
    </dgm:pt>
    <dgm:pt modelId="{C9FFFE64-4F74-4EA9-B9E9-116B8852C8C0}" type="sibTrans" cxnId="{F1B6ED8C-711F-4DAC-9512-A9372ACA20D2}">
      <dgm:prSet/>
      <dgm:spPr/>
      <dgm:t>
        <a:bodyPr/>
        <a:lstStyle/>
        <a:p>
          <a:endParaRPr lang="en-US"/>
        </a:p>
      </dgm:t>
    </dgm:pt>
    <dgm:pt modelId="{83501813-75AD-4138-B421-8513A83FB10B}">
      <dgm:prSet phldrT="[Text]"/>
      <dgm:spPr/>
      <dgm:t>
        <a:bodyPr/>
        <a:lstStyle/>
        <a:p>
          <a:r>
            <a:rPr lang="en-US"/>
            <a:t>App Rat</a:t>
          </a:r>
        </a:p>
      </dgm:t>
    </dgm:pt>
    <dgm:pt modelId="{0B23A50D-0DF4-4C28-A0A4-4669DF0C5CD9}" type="parTrans" cxnId="{F59CB502-4374-4339-8FC0-8EFCECF7F30D}">
      <dgm:prSet/>
      <dgm:spPr/>
      <dgm:t>
        <a:bodyPr/>
        <a:lstStyle/>
        <a:p>
          <a:endParaRPr lang="en-US"/>
        </a:p>
      </dgm:t>
    </dgm:pt>
    <dgm:pt modelId="{725AC692-8315-4A1E-A3AC-20A7F22B4AAE}" type="sibTrans" cxnId="{F59CB502-4374-4339-8FC0-8EFCECF7F30D}">
      <dgm:prSet/>
      <dgm:spPr/>
      <dgm:t>
        <a:bodyPr/>
        <a:lstStyle/>
        <a:p>
          <a:endParaRPr lang="en-US"/>
        </a:p>
      </dgm:t>
    </dgm:pt>
    <dgm:pt modelId="{45531C5C-9466-4F16-9A5C-53E834B26499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10CC5B4B-97FE-4EE1-B639-D522A5882E43}" type="parTrans" cxnId="{4ACFE9D2-0628-42B7-A0CD-58D0EAB095F2}">
      <dgm:prSet/>
      <dgm:spPr/>
      <dgm:t>
        <a:bodyPr/>
        <a:lstStyle/>
        <a:p>
          <a:endParaRPr lang="en-US"/>
        </a:p>
      </dgm:t>
    </dgm:pt>
    <dgm:pt modelId="{52535F31-EC13-4A76-98EC-C56EDB3F4A8E}" type="sibTrans" cxnId="{4ACFE9D2-0628-42B7-A0CD-58D0EAB095F2}">
      <dgm:prSet/>
      <dgm:spPr/>
      <dgm:t>
        <a:bodyPr/>
        <a:lstStyle/>
        <a:p>
          <a:endParaRPr lang="en-US"/>
        </a:p>
      </dgm:t>
    </dgm:pt>
    <dgm:pt modelId="{7D556D86-D7B7-4C14-B1CD-76AFBD593604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848FE0B6-08D7-4590-93A7-D478CFC2A2F5}" type="parTrans" cxnId="{C9C270D9-D88D-408E-A094-EACC67EF9F46}">
      <dgm:prSet/>
      <dgm:spPr/>
      <dgm:t>
        <a:bodyPr/>
        <a:lstStyle/>
        <a:p>
          <a:endParaRPr lang="en-US"/>
        </a:p>
      </dgm:t>
    </dgm:pt>
    <dgm:pt modelId="{B19F3B63-AA44-4E9E-BDD6-65F0D04123D2}" type="sibTrans" cxnId="{C9C270D9-D88D-408E-A094-EACC67EF9F46}">
      <dgm:prSet/>
      <dgm:spPr/>
      <dgm:t>
        <a:bodyPr/>
        <a:lstStyle/>
        <a:p>
          <a:endParaRPr lang="en-US"/>
        </a:p>
      </dgm:t>
    </dgm:pt>
    <dgm:pt modelId="{B4C9C18C-FEE2-488C-9EFC-A9007A3D8854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8BD6A764-AAC4-456A-8C02-9D88CC6C88F0}" type="parTrans" cxnId="{489CE996-4125-4E2C-9D46-AA415954328A}">
      <dgm:prSet/>
      <dgm:spPr/>
      <dgm:t>
        <a:bodyPr/>
        <a:lstStyle/>
        <a:p>
          <a:endParaRPr lang="en-US"/>
        </a:p>
      </dgm:t>
    </dgm:pt>
    <dgm:pt modelId="{C331E5B1-0A11-48A7-9C1C-857BF6BBF192}" type="sibTrans" cxnId="{489CE996-4125-4E2C-9D46-AA415954328A}">
      <dgm:prSet/>
      <dgm:spPr/>
      <dgm:t>
        <a:bodyPr/>
        <a:lstStyle/>
        <a:p>
          <a:endParaRPr lang="en-US"/>
        </a:p>
      </dgm:t>
    </dgm:pt>
    <dgm:pt modelId="{87171EED-19CD-4B79-B41B-E2BB42AAA098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AD8AA9B6-64CF-4F3C-9340-1C4682D9CA1B}" type="parTrans" cxnId="{D4CE0C75-D60C-4122-B97E-4E6064100860}">
      <dgm:prSet/>
      <dgm:spPr/>
      <dgm:t>
        <a:bodyPr/>
        <a:lstStyle/>
        <a:p>
          <a:endParaRPr lang="en-US"/>
        </a:p>
      </dgm:t>
    </dgm:pt>
    <dgm:pt modelId="{A9AEA12D-D323-4D1B-9E97-3AD822759740}" type="sibTrans" cxnId="{D4CE0C75-D60C-4122-B97E-4E6064100860}">
      <dgm:prSet/>
      <dgm:spPr/>
      <dgm:t>
        <a:bodyPr/>
        <a:lstStyle/>
        <a:p>
          <a:endParaRPr lang="en-US"/>
        </a:p>
      </dgm:t>
    </dgm:pt>
    <dgm:pt modelId="{69C3FC52-4BED-42A9-B6DD-5B30FA799740}">
      <dgm:prSet phldrT="[Text]"/>
      <dgm:spPr/>
      <dgm:t>
        <a:bodyPr/>
        <a:lstStyle/>
        <a:p>
          <a:r>
            <a:rPr lang="en-US"/>
            <a:t>Digital</a:t>
          </a:r>
        </a:p>
      </dgm:t>
    </dgm:pt>
    <dgm:pt modelId="{1FD19FB3-F174-45D8-A7BF-5B8635EA1C0E}" type="parTrans" cxnId="{F0D6BC3F-AB4B-46AD-B27E-6791CC6C5ACD}">
      <dgm:prSet/>
      <dgm:spPr/>
      <dgm:t>
        <a:bodyPr/>
        <a:lstStyle/>
        <a:p>
          <a:endParaRPr lang="en-US"/>
        </a:p>
      </dgm:t>
    </dgm:pt>
    <dgm:pt modelId="{EC407EDA-721B-423F-B799-47CAE3B7EF50}" type="sibTrans" cxnId="{F0D6BC3F-AB4B-46AD-B27E-6791CC6C5ACD}">
      <dgm:prSet/>
      <dgm:spPr/>
      <dgm:t>
        <a:bodyPr/>
        <a:lstStyle/>
        <a:p>
          <a:endParaRPr lang="en-US"/>
        </a:p>
      </dgm:t>
    </dgm:pt>
    <dgm:pt modelId="{57A886D7-5CAB-4234-A3C2-CA42FFADA939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BDD22A87-3875-460A-814E-AE60C002795C}" type="parTrans" cxnId="{08A64CAB-DD16-441E-84C6-EF745E6BA727}">
      <dgm:prSet/>
      <dgm:spPr/>
      <dgm:t>
        <a:bodyPr/>
        <a:lstStyle/>
        <a:p>
          <a:endParaRPr lang="en-US"/>
        </a:p>
      </dgm:t>
    </dgm:pt>
    <dgm:pt modelId="{F76761E0-7DFF-441A-B513-4FD70CAE361D}" type="sibTrans" cxnId="{08A64CAB-DD16-441E-84C6-EF745E6BA727}">
      <dgm:prSet/>
      <dgm:spPr/>
      <dgm:t>
        <a:bodyPr/>
        <a:lstStyle/>
        <a:p>
          <a:endParaRPr lang="en-US"/>
        </a:p>
      </dgm:t>
    </dgm:pt>
    <dgm:pt modelId="{02A791C5-29CB-4C19-812E-9D8C142D5EAE}">
      <dgm:prSet phldrT="[Text]"/>
      <dgm:spPr/>
      <dgm:t>
        <a:bodyPr/>
        <a:lstStyle/>
        <a:p>
          <a:r>
            <a:rPr lang="en-US"/>
            <a:t>App Rat</a:t>
          </a:r>
        </a:p>
      </dgm:t>
    </dgm:pt>
    <dgm:pt modelId="{AA523225-F512-4F74-B2CC-B4B8419C7C82}" type="parTrans" cxnId="{0417A9B2-9C24-454D-BDF6-8D50058C9748}">
      <dgm:prSet/>
      <dgm:spPr/>
      <dgm:t>
        <a:bodyPr/>
        <a:lstStyle/>
        <a:p>
          <a:endParaRPr lang="en-US"/>
        </a:p>
      </dgm:t>
    </dgm:pt>
    <dgm:pt modelId="{FDAF51BB-33B6-457A-AE2A-999ADE729BA9}" type="sibTrans" cxnId="{0417A9B2-9C24-454D-BDF6-8D50058C9748}">
      <dgm:prSet/>
      <dgm:spPr/>
      <dgm:t>
        <a:bodyPr/>
        <a:lstStyle/>
        <a:p>
          <a:endParaRPr lang="en-US"/>
        </a:p>
      </dgm:t>
    </dgm:pt>
    <dgm:pt modelId="{904D85CA-A071-487E-9AB0-E19C5EDC2AA1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A742FFA2-808B-4C8C-B88C-D100C7CDDFA4}" type="parTrans" cxnId="{A0C5C984-291E-4457-95B7-F494E687B67A}">
      <dgm:prSet/>
      <dgm:spPr/>
      <dgm:t>
        <a:bodyPr/>
        <a:lstStyle/>
        <a:p>
          <a:endParaRPr lang="en-US"/>
        </a:p>
      </dgm:t>
    </dgm:pt>
    <dgm:pt modelId="{7BA7DD60-819C-41F4-8A20-1D88C310FE4D}" type="sibTrans" cxnId="{A0C5C984-291E-4457-95B7-F494E687B67A}">
      <dgm:prSet/>
      <dgm:spPr/>
      <dgm:t>
        <a:bodyPr/>
        <a:lstStyle/>
        <a:p>
          <a:endParaRPr lang="en-US"/>
        </a:p>
      </dgm:t>
    </dgm:pt>
    <dgm:pt modelId="{8DB3E213-FCE6-4E0C-8D8A-CC91C96FD359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F667304E-EBB7-4F26-8000-8153B2177341}" type="parTrans" cxnId="{2B5C0890-138F-4C3B-AB85-7A43DF5B169F}">
      <dgm:prSet/>
      <dgm:spPr/>
      <dgm:t>
        <a:bodyPr/>
        <a:lstStyle/>
        <a:p>
          <a:endParaRPr lang="en-US"/>
        </a:p>
      </dgm:t>
    </dgm:pt>
    <dgm:pt modelId="{9BAED68D-65F9-4AC3-9E3B-895F2D8C28E1}" type="sibTrans" cxnId="{2B5C0890-138F-4C3B-AB85-7A43DF5B169F}">
      <dgm:prSet/>
      <dgm:spPr/>
      <dgm:t>
        <a:bodyPr/>
        <a:lstStyle/>
        <a:p>
          <a:endParaRPr lang="en-US"/>
        </a:p>
      </dgm:t>
    </dgm:pt>
    <dgm:pt modelId="{204C0A39-D5B2-48ED-84CF-549671E23BAB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60EF9A05-0DFB-45C4-B993-BB183F282B1C}" type="parTrans" cxnId="{DB8B1267-FB66-4369-AEEE-208200D76B95}">
      <dgm:prSet/>
      <dgm:spPr/>
      <dgm:t>
        <a:bodyPr/>
        <a:lstStyle/>
        <a:p>
          <a:endParaRPr lang="en-US"/>
        </a:p>
      </dgm:t>
    </dgm:pt>
    <dgm:pt modelId="{04A60200-EB20-4690-8808-6990BBAF3646}" type="sibTrans" cxnId="{DB8B1267-FB66-4369-AEEE-208200D76B95}">
      <dgm:prSet/>
      <dgm:spPr/>
      <dgm:t>
        <a:bodyPr/>
        <a:lstStyle/>
        <a:p>
          <a:endParaRPr lang="en-US"/>
        </a:p>
      </dgm:t>
    </dgm:pt>
    <dgm:pt modelId="{748E99A3-8C87-4038-837C-5168ADDD934D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437FD8BB-19C9-46C6-9F31-685D9B165D25}" type="parTrans" cxnId="{41EAD3A9-3200-4BFD-9F44-7F368BB53A73}">
      <dgm:prSet/>
      <dgm:spPr/>
      <dgm:t>
        <a:bodyPr/>
        <a:lstStyle/>
        <a:p>
          <a:endParaRPr lang="en-US"/>
        </a:p>
      </dgm:t>
    </dgm:pt>
    <dgm:pt modelId="{08936D53-D37F-44F0-AA00-228DE4C2C1EE}" type="sibTrans" cxnId="{41EAD3A9-3200-4BFD-9F44-7F368BB53A73}">
      <dgm:prSet/>
      <dgm:spPr/>
      <dgm:t>
        <a:bodyPr/>
        <a:lstStyle/>
        <a:p>
          <a:endParaRPr lang="en-US"/>
        </a:p>
      </dgm:t>
    </dgm:pt>
    <dgm:pt modelId="{93EF4FDB-AC60-4B89-984F-D93900892A40}">
      <dgm:prSet phldrT="[Text]"/>
      <dgm:spPr/>
      <dgm:t>
        <a:bodyPr/>
        <a:lstStyle/>
        <a:p>
          <a:r>
            <a:rPr lang="en-US"/>
            <a:t>Project</a:t>
          </a:r>
        </a:p>
      </dgm:t>
    </dgm:pt>
    <dgm:pt modelId="{7139E64C-F863-4CDF-822E-20C11DCDF527}" type="parTrans" cxnId="{F63F8DF1-DE08-47CC-9AA1-240E9E0DB23A}">
      <dgm:prSet/>
      <dgm:spPr/>
      <dgm:t>
        <a:bodyPr/>
        <a:lstStyle/>
        <a:p>
          <a:endParaRPr lang="en-US"/>
        </a:p>
      </dgm:t>
    </dgm:pt>
    <dgm:pt modelId="{61787EE5-1C2D-4F59-AFFF-724CE9615760}" type="sibTrans" cxnId="{F63F8DF1-DE08-47CC-9AA1-240E9E0DB23A}">
      <dgm:prSet/>
      <dgm:spPr/>
      <dgm:t>
        <a:bodyPr/>
        <a:lstStyle/>
        <a:p>
          <a:endParaRPr lang="en-US"/>
        </a:p>
      </dgm:t>
    </dgm:pt>
    <dgm:pt modelId="{0D2EC500-4F02-42F8-ADD4-88C4ECB54DBE}" type="pres">
      <dgm:prSet presAssocID="{7725ABA9-697C-43EB-8FAD-2536352FB00F}" presName="theList" presStyleCnt="0">
        <dgm:presLayoutVars>
          <dgm:dir/>
          <dgm:animLvl val="lvl"/>
          <dgm:resizeHandles val="exact"/>
        </dgm:presLayoutVars>
      </dgm:prSet>
      <dgm:spPr/>
    </dgm:pt>
    <dgm:pt modelId="{A332AB19-2EC9-4570-A753-DD59778BA049}" type="pres">
      <dgm:prSet presAssocID="{FEAF23E2-4732-4D9D-90D1-89F1FB4C36A3}" presName="compNode" presStyleCnt="0"/>
      <dgm:spPr/>
    </dgm:pt>
    <dgm:pt modelId="{B27F393F-217B-4D8F-B9BF-48C543B50419}" type="pres">
      <dgm:prSet presAssocID="{FEAF23E2-4732-4D9D-90D1-89F1FB4C36A3}" presName="aNode" presStyleLbl="bgShp" presStyleIdx="0" presStyleCnt="3"/>
      <dgm:spPr/>
    </dgm:pt>
    <dgm:pt modelId="{FED805EC-AEC3-4E3B-A3FB-93152F7B5166}" type="pres">
      <dgm:prSet presAssocID="{FEAF23E2-4732-4D9D-90D1-89F1FB4C36A3}" presName="textNode" presStyleLbl="bgShp" presStyleIdx="0" presStyleCnt="3"/>
      <dgm:spPr/>
    </dgm:pt>
    <dgm:pt modelId="{85812170-07B0-4A4C-838D-95A8257E1F1E}" type="pres">
      <dgm:prSet presAssocID="{FEAF23E2-4732-4D9D-90D1-89F1FB4C36A3}" presName="compChildNode" presStyleCnt="0"/>
      <dgm:spPr/>
    </dgm:pt>
    <dgm:pt modelId="{19A76ECF-F0AE-4152-B2AD-561270475857}" type="pres">
      <dgm:prSet presAssocID="{FEAF23E2-4732-4D9D-90D1-89F1FB4C36A3}" presName="theInnerList" presStyleCnt="0"/>
      <dgm:spPr/>
    </dgm:pt>
    <dgm:pt modelId="{0B3E2F14-EAA1-4A58-A971-AD17A158380D}" type="pres">
      <dgm:prSet presAssocID="{18A09E44-21B4-45CF-8938-50FAE183EDE1}" presName="childNode" presStyleLbl="node1" presStyleIdx="0" presStyleCnt="9">
        <dgm:presLayoutVars>
          <dgm:bulletEnabled val="1"/>
        </dgm:presLayoutVars>
      </dgm:prSet>
      <dgm:spPr/>
    </dgm:pt>
    <dgm:pt modelId="{DA767C3B-7372-4D93-9AB9-0A5888032440}" type="pres">
      <dgm:prSet presAssocID="{18A09E44-21B4-45CF-8938-50FAE183EDE1}" presName="aSpace2" presStyleCnt="0"/>
      <dgm:spPr/>
    </dgm:pt>
    <dgm:pt modelId="{4B0B1B6B-E018-4CEB-8DDA-B98F71935E10}" type="pres">
      <dgm:prSet presAssocID="{B25E5940-9938-4BAF-B89A-2FC2C595AF4F}" presName="childNode" presStyleLbl="node1" presStyleIdx="1" presStyleCnt="9">
        <dgm:presLayoutVars>
          <dgm:bulletEnabled val="1"/>
        </dgm:presLayoutVars>
      </dgm:prSet>
      <dgm:spPr/>
    </dgm:pt>
    <dgm:pt modelId="{6917C1A8-5F1F-4992-83CF-3D7403783621}" type="pres">
      <dgm:prSet presAssocID="{B25E5940-9938-4BAF-B89A-2FC2C595AF4F}" presName="aSpace2" presStyleCnt="0"/>
      <dgm:spPr/>
    </dgm:pt>
    <dgm:pt modelId="{24025F22-5A1B-4E10-AB73-4006B8DAD03B}" type="pres">
      <dgm:prSet presAssocID="{7F41BD24-EF34-4FAB-91D7-5D76BB1A389A}" presName="childNode" presStyleLbl="node1" presStyleIdx="2" presStyleCnt="9">
        <dgm:presLayoutVars>
          <dgm:bulletEnabled val="1"/>
        </dgm:presLayoutVars>
      </dgm:prSet>
      <dgm:spPr/>
    </dgm:pt>
    <dgm:pt modelId="{5DCF4585-8748-4A69-8D1D-4468BA590B0E}" type="pres">
      <dgm:prSet presAssocID="{FEAF23E2-4732-4D9D-90D1-89F1FB4C36A3}" presName="aSpace" presStyleCnt="0"/>
      <dgm:spPr/>
    </dgm:pt>
    <dgm:pt modelId="{472DD833-33F3-4F75-A993-8279C294133F}" type="pres">
      <dgm:prSet presAssocID="{309644FE-7EB0-4F98-903E-78C17BC418F2}" presName="compNode" presStyleCnt="0"/>
      <dgm:spPr/>
    </dgm:pt>
    <dgm:pt modelId="{965ACE37-5230-4355-810D-037A19F579F6}" type="pres">
      <dgm:prSet presAssocID="{309644FE-7EB0-4F98-903E-78C17BC418F2}" presName="aNode" presStyleLbl="bgShp" presStyleIdx="1" presStyleCnt="3"/>
      <dgm:spPr/>
    </dgm:pt>
    <dgm:pt modelId="{A69DC41E-A50A-4862-9370-4DEAC2EA3967}" type="pres">
      <dgm:prSet presAssocID="{309644FE-7EB0-4F98-903E-78C17BC418F2}" presName="textNode" presStyleLbl="bgShp" presStyleIdx="1" presStyleCnt="3"/>
      <dgm:spPr/>
    </dgm:pt>
    <dgm:pt modelId="{C100A51B-056B-46F3-ABC0-4819392AF9EF}" type="pres">
      <dgm:prSet presAssocID="{309644FE-7EB0-4F98-903E-78C17BC418F2}" presName="compChildNode" presStyleCnt="0"/>
      <dgm:spPr/>
    </dgm:pt>
    <dgm:pt modelId="{187ED460-7CD6-444A-88DD-AEE8053DC98D}" type="pres">
      <dgm:prSet presAssocID="{309644FE-7EB0-4F98-903E-78C17BC418F2}" presName="theInnerList" presStyleCnt="0"/>
      <dgm:spPr/>
    </dgm:pt>
    <dgm:pt modelId="{B3E1B2EA-8BDB-4C79-9230-738096F3E8E6}" type="pres">
      <dgm:prSet presAssocID="{CB348CCB-FED1-47BC-9861-3A6F3CC01C62}" presName="childNode" presStyleLbl="node1" presStyleIdx="3" presStyleCnt="9">
        <dgm:presLayoutVars>
          <dgm:bulletEnabled val="1"/>
        </dgm:presLayoutVars>
      </dgm:prSet>
      <dgm:spPr/>
    </dgm:pt>
    <dgm:pt modelId="{C8843D58-261D-4AE3-A775-60848F613E9D}" type="pres">
      <dgm:prSet presAssocID="{CB348CCB-FED1-47BC-9861-3A6F3CC01C62}" presName="aSpace2" presStyleCnt="0"/>
      <dgm:spPr/>
    </dgm:pt>
    <dgm:pt modelId="{F1ACF6BE-AB1C-41B1-BBDA-A0F0A68DDDDD}" type="pres">
      <dgm:prSet presAssocID="{DD7FF35C-BB7E-4CF3-95CE-55685F94F46D}" presName="childNode" presStyleLbl="node1" presStyleIdx="4" presStyleCnt="9">
        <dgm:presLayoutVars>
          <dgm:bulletEnabled val="1"/>
        </dgm:presLayoutVars>
      </dgm:prSet>
      <dgm:spPr/>
    </dgm:pt>
    <dgm:pt modelId="{F529EEAC-ADC7-4010-9EE4-D4FDB4136CB3}" type="pres">
      <dgm:prSet presAssocID="{DD7FF35C-BB7E-4CF3-95CE-55685F94F46D}" presName="aSpace2" presStyleCnt="0"/>
      <dgm:spPr/>
    </dgm:pt>
    <dgm:pt modelId="{0485384F-AF0C-48DF-91D1-5E7FF583C9A9}" type="pres">
      <dgm:prSet presAssocID="{83501813-75AD-4138-B421-8513A83FB10B}" presName="childNode" presStyleLbl="node1" presStyleIdx="5" presStyleCnt="9">
        <dgm:presLayoutVars>
          <dgm:bulletEnabled val="1"/>
        </dgm:presLayoutVars>
      </dgm:prSet>
      <dgm:spPr/>
    </dgm:pt>
    <dgm:pt modelId="{1C1B583D-9509-467B-9D45-FA514BED45E9}" type="pres">
      <dgm:prSet presAssocID="{309644FE-7EB0-4F98-903E-78C17BC418F2}" presName="aSpace" presStyleCnt="0"/>
      <dgm:spPr/>
    </dgm:pt>
    <dgm:pt modelId="{DBB0A3C1-B829-42B7-B9D2-2D39717DB5BF}" type="pres">
      <dgm:prSet presAssocID="{1147858E-A6E1-4CFC-973D-7D5B8C47C4CC}" presName="compNode" presStyleCnt="0"/>
      <dgm:spPr/>
    </dgm:pt>
    <dgm:pt modelId="{5B5B7956-2CA4-4F13-9342-1A448896D312}" type="pres">
      <dgm:prSet presAssocID="{1147858E-A6E1-4CFC-973D-7D5B8C47C4CC}" presName="aNode" presStyleLbl="bgShp" presStyleIdx="2" presStyleCnt="3" custLinFactNeighborX="730"/>
      <dgm:spPr/>
    </dgm:pt>
    <dgm:pt modelId="{9D26044A-1374-41B8-AA51-ABCA1ECA7CC5}" type="pres">
      <dgm:prSet presAssocID="{1147858E-A6E1-4CFC-973D-7D5B8C47C4CC}" presName="textNode" presStyleLbl="bgShp" presStyleIdx="2" presStyleCnt="3"/>
      <dgm:spPr/>
    </dgm:pt>
    <dgm:pt modelId="{2F74B2E5-7DAF-411B-9E16-116B04422694}" type="pres">
      <dgm:prSet presAssocID="{1147858E-A6E1-4CFC-973D-7D5B8C47C4CC}" presName="compChildNode" presStyleCnt="0"/>
      <dgm:spPr/>
    </dgm:pt>
    <dgm:pt modelId="{76E9AFB9-1B18-4F2C-8C18-D078538598F9}" type="pres">
      <dgm:prSet presAssocID="{1147858E-A6E1-4CFC-973D-7D5B8C47C4CC}" presName="theInnerList" presStyleCnt="0"/>
      <dgm:spPr/>
    </dgm:pt>
    <dgm:pt modelId="{7B838A10-EDC7-40EC-B565-568372287340}" type="pres">
      <dgm:prSet presAssocID="{F8141332-D836-446A-8269-B7F59B2FE249}" presName="childNode" presStyleLbl="node1" presStyleIdx="6" presStyleCnt="9">
        <dgm:presLayoutVars>
          <dgm:bulletEnabled val="1"/>
        </dgm:presLayoutVars>
      </dgm:prSet>
      <dgm:spPr/>
    </dgm:pt>
    <dgm:pt modelId="{FC836129-9B29-4888-A256-0228459A286A}" type="pres">
      <dgm:prSet presAssocID="{F8141332-D836-446A-8269-B7F59B2FE249}" presName="aSpace2" presStyleCnt="0"/>
      <dgm:spPr/>
    </dgm:pt>
    <dgm:pt modelId="{E1D75852-AE78-4536-9CE8-9256D6C7794D}" type="pres">
      <dgm:prSet presAssocID="{69C3FC52-4BED-42A9-B6DD-5B30FA799740}" presName="childNode" presStyleLbl="node1" presStyleIdx="7" presStyleCnt="9">
        <dgm:presLayoutVars>
          <dgm:bulletEnabled val="1"/>
        </dgm:presLayoutVars>
      </dgm:prSet>
      <dgm:spPr/>
    </dgm:pt>
    <dgm:pt modelId="{4208335A-0C75-4DBD-863E-0286428421B5}" type="pres">
      <dgm:prSet presAssocID="{69C3FC52-4BED-42A9-B6DD-5B30FA799740}" presName="aSpace2" presStyleCnt="0"/>
      <dgm:spPr/>
    </dgm:pt>
    <dgm:pt modelId="{3EDD59E8-9478-4494-BC67-E3CB0236038C}" type="pres">
      <dgm:prSet presAssocID="{02A791C5-29CB-4C19-812E-9D8C142D5EAE}" presName="childNode" presStyleLbl="node1" presStyleIdx="8" presStyleCnt="9">
        <dgm:presLayoutVars>
          <dgm:bulletEnabled val="1"/>
        </dgm:presLayoutVars>
      </dgm:prSet>
      <dgm:spPr/>
    </dgm:pt>
  </dgm:ptLst>
  <dgm:cxnLst>
    <dgm:cxn modelId="{F59CB502-4374-4339-8FC0-8EFCECF7F30D}" srcId="{309644FE-7EB0-4F98-903E-78C17BC418F2}" destId="{83501813-75AD-4138-B421-8513A83FB10B}" srcOrd="2" destOrd="0" parTransId="{0B23A50D-0DF4-4C28-A0A4-4669DF0C5CD9}" sibTransId="{725AC692-8315-4A1E-A3AC-20A7F22B4AAE}"/>
    <dgm:cxn modelId="{56FE8508-81BC-48AA-8697-2B4E62A14A39}" srcId="{18A09E44-21B4-45CF-8938-50FAE183EDE1}" destId="{A676ED88-1A6E-48ED-8B87-72EF8F428413}" srcOrd="2" destOrd="0" parTransId="{32513193-294E-441B-8E28-6187DAACDEA5}" sibTransId="{F90A566A-8954-4E2C-BEAB-1AFB06EFB512}"/>
    <dgm:cxn modelId="{C909710D-5A8D-4200-95B7-FF2175D6EBCA}" srcId="{B25E5940-9938-4BAF-B89A-2FC2C595AF4F}" destId="{46006186-60CC-4977-AD02-2CE404D4C476}" srcOrd="1" destOrd="0" parTransId="{501BB91F-ACC1-4119-B86F-3F69DBF8596A}" sibTransId="{48CBB53B-F98C-4E62-8160-C4DC25AA82E1}"/>
    <dgm:cxn modelId="{5A7A3413-E794-4DB6-A6A3-991900DDCAC4}" type="presOf" srcId="{CB348CCB-FED1-47BC-9861-3A6F3CC01C62}" destId="{B3E1B2EA-8BDB-4C79-9230-738096F3E8E6}" srcOrd="0" destOrd="0" presId="urn:microsoft.com/office/officeart/2005/8/layout/lProcess2"/>
    <dgm:cxn modelId="{ACD5CF16-32B0-4BC8-9530-4E994038E7B2}" type="presOf" srcId="{204C0A39-D5B2-48ED-84CF-549671E23BAB}" destId="{7B838A10-EDC7-40EC-B565-568372287340}" srcOrd="0" destOrd="4" presId="urn:microsoft.com/office/officeart/2005/8/layout/lProcess2"/>
    <dgm:cxn modelId="{5B8E8117-778B-43DE-8BE0-E4B513DC2EB6}" type="presOf" srcId="{DD7FF35C-BB7E-4CF3-95CE-55685F94F46D}" destId="{F1ACF6BE-AB1C-41B1-BBDA-A0F0A68DDDDD}" srcOrd="0" destOrd="0" presId="urn:microsoft.com/office/officeart/2005/8/layout/lProcess2"/>
    <dgm:cxn modelId="{A9589520-36CF-4C26-8D4F-ACF8A13DF5FC}" type="presOf" srcId="{69C3FC52-4BED-42A9-B6DD-5B30FA799740}" destId="{E1D75852-AE78-4536-9CE8-9256D6C7794D}" srcOrd="0" destOrd="0" presId="urn:microsoft.com/office/officeart/2005/8/layout/lProcess2"/>
    <dgm:cxn modelId="{C74EAB22-4C9E-477D-BFF6-463C44FC9CC6}" type="presOf" srcId="{7725ABA9-697C-43EB-8FAD-2536352FB00F}" destId="{0D2EC500-4F02-42F8-ADD4-88C4ECB54DBE}" srcOrd="0" destOrd="0" presId="urn:microsoft.com/office/officeart/2005/8/layout/lProcess2"/>
    <dgm:cxn modelId="{2AF39825-86E9-487F-897C-FA65290FFFDB}" type="presOf" srcId="{D7EAC5F4-3DC3-47AA-A971-54AA766304E2}" destId="{0B3E2F14-EAA1-4A58-A971-AD17A158380D}" srcOrd="0" destOrd="1" presId="urn:microsoft.com/office/officeart/2005/8/layout/lProcess2"/>
    <dgm:cxn modelId="{34B00627-1E42-42C0-A615-E659BB6FB605}" type="presOf" srcId="{18A09E44-21B4-45CF-8938-50FAE183EDE1}" destId="{0B3E2F14-EAA1-4A58-A971-AD17A158380D}" srcOrd="0" destOrd="0" presId="urn:microsoft.com/office/officeart/2005/8/layout/lProcess2"/>
    <dgm:cxn modelId="{62B92C28-BC50-4A3B-8594-CFB937F409A8}" type="presOf" srcId="{4B94EC51-4BFB-4122-BB8F-5D87A2169C10}" destId="{F1ACF6BE-AB1C-41B1-BBDA-A0F0A68DDDDD}" srcOrd="0" destOrd="1" presId="urn:microsoft.com/office/officeart/2005/8/layout/lProcess2"/>
    <dgm:cxn modelId="{2C85682C-3927-4B92-B351-23C4EC5825DC}" srcId="{FEAF23E2-4732-4D9D-90D1-89F1FB4C36A3}" destId="{B25E5940-9938-4BAF-B89A-2FC2C595AF4F}" srcOrd="1" destOrd="0" parTransId="{BAE15EBA-766A-4D59-B2DC-8F73670046F0}" sibTransId="{328ADA21-DD34-4517-8EF1-49BE9425F723}"/>
    <dgm:cxn modelId="{D4A11532-9102-41CE-A296-BD06EC8CBAB8}" type="presOf" srcId="{0EDD931E-32D9-4CDD-94AC-A8EC6A0D1F27}" destId="{F1ACF6BE-AB1C-41B1-BBDA-A0F0A68DDDDD}" srcOrd="0" destOrd="2" presId="urn:microsoft.com/office/officeart/2005/8/layout/lProcess2"/>
    <dgm:cxn modelId="{70603337-DDAB-4B40-9DBE-DA9B01B0EDB5}" type="presOf" srcId="{748E99A3-8C87-4038-837C-5168ADDD934D}" destId="{3EDD59E8-9478-4494-BC67-E3CB0236038C}" srcOrd="0" destOrd="2" presId="urn:microsoft.com/office/officeart/2005/8/layout/lProcess2"/>
    <dgm:cxn modelId="{DE061739-472B-4AE8-A3E5-7B9D49316231}" type="presOf" srcId="{B4C9C18C-FEE2-488C-9EFC-A9007A3D8854}" destId="{7B838A10-EDC7-40EC-B565-568372287340}" srcOrd="0" destOrd="2" presId="urn:microsoft.com/office/officeart/2005/8/layout/lProcess2"/>
    <dgm:cxn modelId="{F0D6BC3F-AB4B-46AD-B27E-6791CC6C5ACD}" srcId="{1147858E-A6E1-4CFC-973D-7D5B8C47C4CC}" destId="{69C3FC52-4BED-42A9-B6DD-5B30FA799740}" srcOrd="1" destOrd="0" parTransId="{1FD19FB3-F174-45D8-A7BF-5B8635EA1C0E}" sibTransId="{EC407EDA-721B-423F-B799-47CAE3B7EF50}"/>
    <dgm:cxn modelId="{9DD03862-08A3-4764-B6E9-878BBAF6553E}" type="presOf" srcId="{45531C5C-9466-4F16-9A5C-53E834B26499}" destId="{0485384F-AF0C-48DF-91D1-5E7FF583C9A9}" srcOrd="0" destOrd="1" presId="urn:microsoft.com/office/officeart/2005/8/layout/lProcess2"/>
    <dgm:cxn modelId="{EB8A8B43-3A15-4717-99AC-F7DE7A887A8E}" type="presOf" srcId="{FEAF23E2-4732-4D9D-90D1-89F1FB4C36A3}" destId="{FED805EC-AEC3-4E3B-A3FB-93152F7B5166}" srcOrd="1" destOrd="0" presId="urn:microsoft.com/office/officeart/2005/8/layout/lProcess2"/>
    <dgm:cxn modelId="{DB8B1267-FB66-4369-AEEE-208200D76B95}" srcId="{F8141332-D836-446A-8269-B7F59B2FE249}" destId="{204C0A39-D5B2-48ED-84CF-549671E23BAB}" srcOrd="3" destOrd="0" parTransId="{60EF9A05-0DFB-45C4-B993-BB183F282B1C}" sibTransId="{04A60200-EB20-4690-8808-6990BBAF3646}"/>
    <dgm:cxn modelId="{038F7668-B456-4217-94D3-F42B8812CC3A}" type="presOf" srcId="{83501813-75AD-4138-B421-8513A83FB10B}" destId="{0485384F-AF0C-48DF-91D1-5E7FF583C9A9}" srcOrd="0" destOrd="0" presId="urn:microsoft.com/office/officeart/2005/8/layout/lProcess2"/>
    <dgm:cxn modelId="{6784FA68-D093-4115-9988-44F830024A06}" type="presOf" srcId="{0A3A3B09-9928-4685-95DA-3105881903C7}" destId="{0B3E2F14-EAA1-4A58-A971-AD17A158380D}" srcOrd="0" destOrd="2" presId="urn:microsoft.com/office/officeart/2005/8/layout/lProcess2"/>
    <dgm:cxn modelId="{61D62269-9FEB-40CA-B429-CDF330D89274}" type="presOf" srcId="{7D556D86-D7B7-4C14-B1CD-76AFBD593604}" destId="{7B838A10-EDC7-40EC-B565-568372287340}" srcOrd="0" destOrd="1" presId="urn:microsoft.com/office/officeart/2005/8/layout/lProcess2"/>
    <dgm:cxn modelId="{A8045369-C329-4CF5-A240-09DDED9A6412}" type="presOf" srcId="{57A886D7-5CAB-4234-A3C2-CA42FFADA939}" destId="{E1D75852-AE78-4536-9CE8-9256D6C7794D}" srcOrd="0" destOrd="1" presId="urn:microsoft.com/office/officeart/2005/8/layout/lProcess2"/>
    <dgm:cxn modelId="{6109BB6B-B548-43FF-BA56-DBC132F526C9}" srcId="{7725ABA9-697C-43EB-8FAD-2536352FB00F}" destId="{309644FE-7EB0-4F98-903E-78C17BC418F2}" srcOrd="1" destOrd="0" parTransId="{ED4967BA-90FC-4F03-8548-D5169EF245A9}" sibTransId="{28B97DD7-623A-4156-A16E-10C9E2EFFA37}"/>
    <dgm:cxn modelId="{6BE7326C-0964-4627-84DB-365DE04DCDD2}" srcId="{B25E5940-9938-4BAF-B89A-2FC2C595AF4F}" destId="{500B4A28-5C8F-4E63-A518-645190E17CA9}" srcOrd="0" destOrd="0" parTransId="{A30371BF-D194-497D-AD42-CFBA98A83F39}" sibTransId="{CFA647FD-4FFC-4AA9-BC10-72DE2754FCD1}"/>
    <dgm:cxn modelId="{BF5AFF4F-59DF-48E4-8A98-98AD362DBCCE}" type="presOf" srcId="{500B4A28-5C8F-4E63-A518-645190E17CA9}" destId="{4B0B1B6B-E018-4CEB-8DDA-B98F71935E10}" srcOrd="0" destOrd="1" presId="urn:microsoft.com/office/officeart/2005/8/layout/lProcess2"/>
    <dgm:cxn modelId="{F1936252-E53D-462E-BA3C-E92EFC4F295D}" srcId="{7725ABA9-697C-43EB-8FAD-2536352FB00F}" destId="{FEAF23E2-4732-4D9D-90D1-89F1FB4C36A3}" srcOrd="0" destOrd="0" parTransId="{8E2936F3-4962-4E42-B3BC-9E55D9AC164F}" sibTransId="{88B02EC5-A30C-4B98-9079-EF009B7EFE10}"/>
    <dgm:cxn modelId="{D4CE0C75-D60C-4122-B97E-4E6064100860}" srcId="{F8141332-D836-446A-8269-B7F59B2FE249}" destId="{87171EED-19CD-4B79-B41B-E2BB42AAA098}" srcOrd="2" destOrd="0" parTransId="{AD8AA9B6-64CF-4F3C-9340-1C4682D9CA1B}" sibTransId="{A9AEA12D-D323-4D1B-9E97-3AD822759740}"/>
    <dgm:cxn modelId="{B7851975-D35E-4CC4-A19A-4718457D2FD5}" srcId="{FEAF23E2-4732-4D9D-90D1-89F1FB4C36A3}" destId="{18A09E44-21B4-45CF-8938-50FAE183EDE1}" srcOrd="0" destOrd="0" parTransId="{178E6F7F-CB6E-4A13-9F59-A79BD1E48042}" sibTransId="{192533A3-C30E-40B8-A07E-4404B38BCCFB}"/>
    <dgm:cxn modelId="{F8687A58-C4CA-4490-A10B-9E54C7AA8A18}" srcId="{309644FE-7EB0-4F98-903E-78C17BC418F2}" destId="{CB348CCB-FED1-47BC-9861-3A6F3CC01C62}" srcOrd="0" destOrd="0" parTransId="{9F42A86A-5379-47DC-B1AA-3BDD766F18DC}" sibTransId="{C44A93BB-1648-496F-82DE-6EE6DE721EF5}"/>
    <dgm:cxn modelId="{DADB9158-1486-4FB3-9DDF-D1E52DBFB11A}" type="presOf" srcId="{A676ED88-1A6E-48ED-8B87-72EF8F428413}" destId="{0B3E2F14-EAA1-4A58-A971-AD17A158380D}" srcOrd="0" destOrd="3" presId="urn:microsoft.com/office/officeart/2005/8/layout/lProcess2"/>
    <dgm:cxn modelId="{0F259358-4DB4-4446-A36D-5B34B7E074E7}" type="presOf" srcId="{1147858E-A6E1-4CFC-973D-7D5B8C47C4CC}" destId="{9D26044A-1374-41B8-AA51-ABCA1ECA7CC5}" srcOrd="1" destOrd="0" presId="urn:microsoft.com/office/officeart/2005/8/layout/lProcess2"/>
    <dgm:cxn modelId="{1CA7EC59-5D78-473E-91BA-1FEE994B048E}" srcId="{FEAF23E2-4732-4D9D-90D1-89F1FB4C36A3}" destId="{7F41BD24-EF34-4FAB-91D7-5D76BB1A389A}" srcOrd="2" destOrd="0" parTransId="{3B7FD726-3612-4EF7-8C7E-63F12250DEE6}" sibTransId="{C2783F59-34C4-4CE3-AFD7-76F20938325C}"/>
    <dgm:cxn modelId="{F987995A-D017-4DD7-82A7-46184EEDAA97}" type="presOf" srcId="{B25E5940-9938-4BAF-B89A-2FC2C595AF4F}" destId="{4B0B1B6B-E018-4CEB-8DDA-B98F71935E10}" srcOrd="0" destOrd="0" presId="urn:microsoft.com/office/officeart/2005/8/layout/lProcess2"/>
    <dgm:cxn modelId="{1D321584-B139-43F3-B7E8-AF2D7B0EE907}" srcId="{CB348CCB-FED1-47BC-9861-3A6F3CC01C62}" destId="{A3A79977-7117-4549-BD6A-986D6356DC53}" srcOrd="0" destOrd="0" parTransId="{67DC7542-A4A8-47E5-A2DC-0729A469BD0D}" sibTransId="{3AAE1CCE-BC10-475A-BE41-DC864E09C7DD}"/>
    <dgm:cxn modelId="{A0C5C984-291E-4457-95B7-F494E687B67A}" srcId="{02A791C5-29CB-4C19-812E-9D8C142D5EAE}" destId="{904D85CA-A071-487E-9AB0-E19C5EDC2AA1}" srcOrd="0" destOrd="0" parTransId="{A742FFA2-808B-4C8C-B88C-D100C7CDDFA4}" sibTransId="{7BA7DD60-819C-41F4-8A20-1D88C310FE4D}"/>
    <dgm:cxn modelId="{B45E3F87-C697-41F6-B065-C6A7B2960F7E}" srcId="{18A09E44-21B4-45CF-8938-50FAE183EDE1}" destId="{D7EAC5F4-3DC3-47AA-A971-54AA766304E2}" srcOrd="0" destOrd="0" parTransId="{A5001064-7492-4C00-8929-5E381B9DBD6B}" sibTransId="{298FFD60-D39A-4110-9901-CC67F1DD5BFD}"/>
    <dgm:cxn modelId="{F1B6ED8C-711F-4DAC-9512-A9372ACA20D2}" srcId="{DD7FF35C-BB7E-4CF3-95CE-55685F94F46D}" destId="{0EDD931E-32D9-4CDD-94AC-A8EC6A0D1F27}" srcOrd="1" destOrd="0" parTransId="{480B9C8E-2F61-4A9B-AB75-C71B5E0B8355}" sibTransId="{C9FFFE64-4F74-4EA9-B9E9-116B8852C8C0}"/>
    <dgm:cxn modelId="{2B5C0890-138F-4C3B-AB85-7A43DF5B169F}" srcId="{B25E5940-9938-4BAF-B89A-2FC2C595AF4F}" destId="{8DB3E213-FCE6-4E0C-8D8A-CC91C96FD359}" srcOrd="2" destOrd="0" parTransId="{F667304E-EBB7-4F26-8000-8153B2177341}" sibTransId="{9BAED68D-65F9-4AC3-9E3B-895F2D8C28E1}"/>
    <dgm:cxn modelId="{489CE996-4125-4E2C-9D46-AA415954328A}" srcId="{F8141332-D836-446A-8269-B7F59B2FE249}" destId="{B4C9C18C-FEE2-488C-9EFC-A9007A3D8854}" srcOrd="1" destOrd="0" parTransId="{8BD6A764-AAC4-456A-8C02-9D88CC6C88F0}" sibTransId="{C331E5B1-0A11-48A7-9C1C-857BF6BBF192}"/>
    <dgm:cxn modelId="{11A72F98-7C0A-4214-811A-7AF64E38D7A2}" type="presOf" srcId="{7F41BD24-EF34-4FAB-91D7-5D76BB1A389A}" destId="{24025F22-5A1B-4E10-AB73-4006B8DAD03B}" srcOrd="0" destOrd="0" presId="urn:microsoft.com/office/officeart/2005/8/layout/lProcess2"/>
    <dgm:cxn modelId="{CEF1809A-7148-420F-A97A-EDE56C3121D2}" type="presOf" srcId="{A3A79977-7117-4549-BD6A-986D6356DC53}" destId="{B3E1B2EA-8BDB-4C79-9230-738096F3E8E6}" srcOrd="0" destOrd="1" presId="urn:microsoft.com/office/officeart/2005/8/layout/lProcess2"/>
    <dgm:cxn modelId="{192E5B9B-44E9-48EF-83E4-1FAF9853DDD1}" type="presOf" srcId="{309644FE-7EB0-4F98-903E-78C17BC418F2}" destId="{965ACE37-5230-4355-810D-037A19F579F6}" srcOrd="0" destOrd="0" presId="urn:microsoft.com/office/officeart/2005/8/layout/lProcess2"/>
    <dgm:cxn modelId="{A714D49B-2B44-4211-A722-E48EFEBD4096}" type="presOf" srcId="{904D85CA-A071-487E-9AB0-E19C5EDC2AA1}" destId="{3EDD59E8-9478-4494-BC67-E3CB0236038C}" srcOrd="0" destOrd="1" presId="urn:microsoft.com/office/officeart/2005/8/layout/lProcess2"/>
    <dgm:cxn modelId="{440F689F-8511-423C-A007-4DEE1E0A5736}" srcId="{309644FE-7EB0-4F98-903E-78C17BC418F2}" destId="{DD7FF35C-BB7E-4CF3-95CE-55685F94F46D}" srcOrd="1" destOrd="0" parTransId="{A9C5F2D0-D63E-4CCA-80CC-B18BED044109}" sibTransId="{85252C95-A358-4C4E-BB36-5C88C7B0D63C}"/>
    <dgm:cxn modelId="{6A1936A1-13DA-4ED1-B173-1391916B9114}" type="presOf" srcId="{93EF4FDB-AC60-4B89-984F-D93900892A40}" destId="{3EDD59E8-9478-4494-BC67-E3CB0236038C}" srcOrd="0" destOrd="3" presId="urn:microsoft.com/office/officeart/2005/8/layout/lProcess2"/>
    <dgm:cxn modelId="{428358A4-70C6-4BB5-BDE5-20791AAB7AAF}" type="presOf" srcId="{02A791C5-29CB-4C19-812E-9D8C142D5EAE}" destId="{3EDD59E8-9478-4494-BC67-E3CB0236038C}" srcOrd="0" destOrd="0" presId="urn:microsoft.com/office/officeart/2005/8/layout/lProcess2"/>
    <dgm:cxn modelId="{B59B89A7-20D1-4647-B887-FBA677714AFA}" type="presOf" srcId="{309644FE-7EB0-4F98-903E-78C17BC418F2}" destId="{A69DC41E-A50A-4862-9370-4DEAC2EA3967}" srcOrd="1" destOrd="0" presId="urn:microsoft.com/office/officeart/2005/8/layout/lProcess2"/>
    <dgm:cxn modelId="{41EAD3A9-3200-4BFD-9F44-7F368BB53A73}" srcId="{02A791C5-29CB-4C19-812E-9D8C142D5EAE}" destId="{748E99A3-8C87-4038-837C-5168ADDD934D}" srcOrd="1" destOrd="0" parTransId="{437FD8BB-19C9-46C6-9F31-685D9B165D25}" sibTransId="{08936D53-D37F-44F0-AA00-228DE4C2C1EE}"/>
    <dgm:cxn modelId="{A6A41CAB-4456-4391-BCAA-4F8D928978A1}" type="presOf" srcId="{8DB3E213-FCE6-4E0C-8D8A-CC91C96FD359}" destId="{4B0B1B6B-E018-4CEB-8DDA-B98F71935E10}" srcOrd="0" destOrd="3" presId="urn:microsoft.com/office/officeart/2005/8/layout/lProcess2"/>
    <dgm:cxn modelId="{08A64CAB-DD16-441E-84C6-EF745E6BA727}" srcId="{69C3FC52-4BED-42A9-B6DD-5B30FA799740}" destId="{57A886D7-5CAB-4234-A3C2-CA42FFADA939}" srcOrd="0" destOrd="0" parTransId="{BDD22A87-3875-460A-814E-AE60C002795C}" sibTransId="{F76761E0-7DFF-441A-B513-4FD70CAE361D}"/>
    <dgm:cxn modelId="{D38DD6AD-1139-4D3A-96D8-7671240856E4}" type="presOf" srcId="{3A386B03-2BF9-4F6D-AA08-A39ECECB705F}" destId="{24025F22-5A1B-4E10-AB73-4006B8DAD03B}" srcOrd="0" destOrd="2" presId="urn:microsoft.com/office/officeart/2005/8/layout/lProcess2"/>
    <dgm:cxn modelId="{23BA83B2-2D47-4482-A165-D9457C565559}" srcId="{7F41BD24-EF34-4FAB-91D7-5D76BB1A389A}" destId="{3A386B03-2BF9-4F6D-AA08-A39ECECB705F}" srcOrd="1" destOrd="0" parTransId="{C693B2AB-E2E0-4543-8451-F16783067CBB}" sibTransId="{C2A62021-F029-41F9-807F-B01B52967DCA}"/>
    <dgm:cxn modelId="{0417A9B2-9C24-454D-BDF6-8D50058C9748}" srcId="{1147858E-A6E1-4CFC-973D-7D5B8C47C4CC}" destId="{02A791C5-29CB-4C19-812E-9D8C142D5EAE}" srcOrd="2" destOrd="0" parTransId="{AA523225-F512-4F74-B2CC-B4B8419C7C82}" sibTransId="{FDAF51BB-33B6-457A-AE2A-999ADE729BA9}"/>
    <dgm:cxn modelId="{003316B3-BEFF-4907-B817-5304340FC180}" type="presOf" srcId="{87171EED-19CD-4B79-B41B-E2BB42AAA098}" destId="{7B838A10-EDC7-40EC-B565-568372287340}" srcOrd="0" destOrd="3" presId="urn:microsoft.com/office/officeart/2005/8/layout/lProcess2"/>
    <dgm:cxn modelId="{F80DBAB3-93AD-4F0E-A760-311AE7F48C43}" srcId="{1147858E-A6E1-4CFC-973D-7D5B8C47C4CC}" destId="{F8141332-D836-446A-8269-B7F59B2FE249}" srcOrd="0" destOrd="0" parTransId="{BA6521F4-EFFA-4614-94EF-B71A8B9EA41C}" sibTransId="{FFE080C1-1419-4CAC-9EC3-B4A90C36BEFE}"/>
    <dgm:cxn modelId="{A9E589C5-1A24-42B9-B4D4-5D31B49730A6}" type="presOf" srcId="{F8141332-D836-446A-8269-B7F59B2FE249}" destId="{7B838A10-EDC7-40EC-B565-568372287340}" srcOrd="0" destOrd="0" presId="urn:microsoft.com/office/officeart/2005/8/layout/lProcess2"/>
    <dgm:cxn modelId="{FB8A4ACB-2C4A-469F-AC05-02EDEDCDB8DE}" type="presOf" srcId="{FEAF23E2-4732-4D9D-90D1-89F1FB4C36A3}" destId="{B27F393F-217B-4D8F-B9BF-48C543B50419}" srcOrd="0" destOrd="0" presId="urn:microsoft.com/office/officeart/2005/8/layout/lProcess2"/>
    <dgm:cxn modelId="{28C5A8CD-0F0A-4C1D-8A00-3C1A7D6AF4FA}" type="presOf" srcId="{1147858E-A6E1-4CFC-973D-7D5B8C47C4CC}" destId="{5B5B7956-2CA4-4F13-9342-1A448896D312}" srcOrd="0" destOrd="0" presId="urn:microsoft.com/office/officeart/2005/8/layout/lProcess2"/>
    <dgm:cxn modelId="{4ACFE9D2-0628-42B7-A0CD-58D0EAB095F2}" srcId="{83501813-75AD-4138-B421-8513A83FB10B}" destId="{45531C5C-9466-4F16-9A5C-53E834B26499}" srcOrd="0" destOrd="0" parTransId="{10CC5B4B-97FE-4EE1-B639-D522A5882E43}" sibTransId="{52535F31-EC13-4A76-98EC-C56EDB3F4A8E}"/>
    <dgm:cxn modelId="{C9C270D9-D88D-408E-A094-EACC67EF9F46}" srcId="{F8141332-D836-446A-8269-B7F59B2FE249}" destId="{7D556D86-D7B7-4C14-B1CD-76AFBD593604}" srcOrd="0" destOrd="0" parTransId="{848FE0B6-08D7-4590-93A7-D478CFC2A2F5}" sibTransId="{B19F3B63-AA44-4E9E-BDD6-65F0D04123D2}"/>
    <dgm:cxn modelId="{F4D15BDC-F625-4AA9-BEE4-7E90BC47ACE4}" type="presOf" srcId="{8493E3A8-8940-44CA-83E3-DA76FA9FD680}" destId="{24025F22-5A1B-4E10-AB73-4006B8DAD03B}" srcOrd="0" destOrd="1" presId="urn:microsoft.com/office/officeart/2005/8/layout/lProcess2"/>
    <dgm:cxn modelId="{177238E0-DB10-4064-873F-30DD116769E9}" srcId="{7F41BD24-EF34-4FAB-91D7-5D76BB1A389A}" destId="{8493E3A8-8940-44CA-83E3-DA76FA9FD680}" srcOrd="0" destOrd="0" parTransId="{62255974-6DEC-48A3-BE1F-2FF7352CDE47}" sibTransId="{5C44F6DB-AD81-4B9A-8190-0B717AC4DCE6}"/>
    <dgm:cxn modelId="{989742E6-C5C9-429C-8F86-081E7D2201DE}" srcId="{DD7FF35C-BB7E-4CF3-95CE-55685F94F46D}" destId="{4B94EC51-4BFB-4122-BB8F-5D87A2169C10}" srcOrd="0" destOrd="0" parTransId="{22EA2CF3-2BDA-430A-9ABC-1ACF9D53E017}" sibTransId="{91437A47-B52C-4749-82CC-C1D068077B1B}"/>
    <dgm:cxn modelId="{E88421F0-10BC-49B8-8DB0-56C93AA8A174}" srcId="{7725ABA9-697C-43EB-8FAD-2536352FB00F}" destId="{1147858E-A6E1-4CFC-973D-7D5B8C47C4CC}" srcOrd="2" destOrd="0" parTransId="{062AA384-023F-415A-8F5D-F062B0D72C62}" sibTransId="{AE7C35A7-5EAA-407F-92C2-EF69751AB65E}"/>
    <dgm:cxn modelId="{F63F8DF1-DE08-47CC-9AA1-240E9E0DB23A}" srcId="{02A791C5-29CB-4C19-812E-9D8C142D5EAE}" destId="{93EF4FDB-AC60-4B89-984F-D93900892A40}" srcOrd="2" destOrd="0" parTransId="{7139E64C-F863-4CDF-822E-20C11DCDF527}" sibTransId="{61787EE5-1C2D-4F59-AFFF-724CE9615760}"/>
    <dgm:cxn modelId="{FCE8A9FE-9C65-4DC5-BFCE-38CE5050B471}" srcId="{18A09E44-21B4-45CF-8938-50FAE183EDE1}" destId="{0A3A3B09-9928-4685-95DA-3105881903C7}" srcOrd="1" destOrd="0" parTransId="{E2045C6A-309D-4032-A055-EE240E419870}" sibTransId="{E63AA97B-1D33-476A-9F02-9D0921A22E62}"/>
    <dgm:cxn modelId="{678800FF-2E4B-4933-A44E-872E2C950B4B}" type="presOf" srcId="{46006186-60CC-4977-AD02-2CE404D4C476}" destId="{4B0B1B6B-E018-4CEB-8DDA-B98F71935E10}" srcOrd="0" destOrd="2" presId="urn:microsoft.com/office/officeart/2005/8/layout/lProcess2"/>
    <dgm:cxn modelId="{FAA0DA44-ABF6-49A1-8400-16072FF129C1}" type="presParOf" srcId="{0D2EC500-4F02-42F8-ADD4-88C4ECB54DBE}" destId="{A332AB19-2EC9-4570-A753-DD59778BA049}" srcOrd="0" destOrd="0" presId="urn:microsoft.com/office/officeart/2005/8/layout/lProcess2"/>
    <dgm:cxn modelId="{E3006579-5B89-4F05-835A-1FE81ACB97CE}" type="presParOf" srcId="{A332AB19-2EC9-4570-A753-DD59778BA049}" destId="{B27F393F-217B-4D8F-B9BF-48C543B50419}" srcOrd="0" destOrd="0" presId="urn:microsoft.com/office/officeart/2005/8/layout/lProcess2"/>
    <dgm:cxn modelId="{2AD8E579-327E-4154-A9AC-EE87BA670013}" type="presParOf" srcId="{A332AB19-2EC9-4570-A753-DD59778BA049}" destId="{FED805EC-AEC3-4E3B-A3FB-93152F7B5166}" srcOrd="1" destOrd="0" presId="urn:microsoft.com/office/officeart/2005/8/layout/lProcess2"/>
    <dgm:cxn modelId="{DC3FC994-A98D-4167-A0C0-09AEA19997FF}" type="presParOf" srcId="{A332AB19-2EC9-4570-A753-DD59778BA049}" destId="{85812170-07B0-4A4C-838D-95A8257E1F1E}" srcOrd="2" destOrd="0" presId="urn:microsoft.com/office/officeart/2005/8/layout/lProcess2"/>
    <dgm:cxn modelId="{2298F6CD-B034-45AA-8E65-8EC9BF132412}" type="presParOf" srcId="{85812170-07B0-4A4C-838D-95A8257E1F1E}" destId="{19A76ECF-F0AE-4152-B2AD-561270475857}" srcOrd="0" destOrd="0" presId="urn:microsoft.com/office/officeart/2005/8/layout/lProcess2"/>
    <dgm:cxn modelId="{6505238C-2DF8-4F24-A25E-C8A48850AA8B}" type="presParOf" srcId="{19A76ECF-F0AE-4152-B2AD-561270475857}" destId="{0B3E2F14-EAA1-4A58-A971-AD17A158380D}" srcOrd="0" destOrd="0" presId="urn:microsoft.com/office/officeart/2005/8/layout/lProcess2"/>
    <dgm:cxn modelId="{D014ECBB-8740-439D-8A32-8C241E63C349}" type="presParOf" srcId="{19A76ECF-F0AE-4152-B2AD-561270475857}" destId="{DA767C3B-7372-4D93-9AB9-0A5888032440}" srcOrd="1" destOrd="0" presId="urn:microsoft.com/office/officeart/2005/8/layout/lProcess2"/>
    <dgm:cxn modelId="{CFDEBACA-8801-430C-B167-81085A9C85DF}" type="presParOf" srcId="{19A76ECF-F0AE-4152-B2AD-561270475857}" destId="{4B0B1B6B-E018-4CEB-8DDA-B98F71935E10}" srcOrd="2" destOrd="0" presId="urn:microsoft.com/office/officeart/2005/8/layout/lProcess2"/>
    <dgm:cxn modelId="{26BB0CE9-2F0E-42CA-B63D-19A049BAD787}" type="presParOf" srcId="{19A76ECF-F0AE-4152-B2AD-561270475857}" destId="{6917C1A8-5F1F-4992-83CF-3D7403783621}" srcOrd="3" destOrd="0" presId="urn:microsoft.com/office/officeart/2005/8/layout/lProcess2"/>
    <dgm:cxn modelId="{D59E4ACD-A166-4385-9061-DD744F9CF842}" type="presParOf" srcId="{19A76ECF-F0AE-4152-B2AD-561270475857}" destId="{24025F22-5A1B-4E10-AB73-4006B8DAD03B}" srcOrd="4" destOrd="0" presId="urn:microsoft.com/office/officeart/2005/8/layout/lProcess2"/>
    <dgm:cxn modelId="{EBAE14F9-02C0-4973-B190-655B5BC55DBE}" type="presParOf" srcId="{0D2EC500-4F02-42F8-ADD4-88C4ECB54DBE}" destId="{5DCF4585-8748-4A69-8D1D-4468BA590B0E}" srcOrd="1" destOrd="0" presId="urn:microsoft.com/office/officeart/2005/8/layout/lProcess2"/>
    <dgm:cxn modelId="{FF7A439C-587B-4C97-B1AA-E38E14EBD7DE}" type="presParOf" srcId="{0D2EC500-4F02-42F8-ADD4-88C4ECB54DBE}" destId="{472DD833-33F3-4F75-A993-8279C294133F}" srcOrd="2" destOrd="0" presId="urn:microsoft.com/office/officeart/2005/8/layout/lProcess2"/>
    <dgm:cxn modelId="{691C81B6-EDF3-4DB4-9DA3-3C1BE94BC8D5}" type="presParOf" srcId="{472DD833-33F3-4F75-A993-8279C294133F}" destId="{965ACE37-5230-4355-810D-037A19F579F6}" srcOrd="0" destOrd="0" presId="urn:microsoft.com/office/officeart/2005/8/layout/lProcess2"/>
    <dgm:cxn modelId="{A948706C-F668-43AF-85AF-B91C3D2602ED}" type="presParOf" srcId="{472DD833-33F3-4F75-A993-8279C294133F}" destId="{A69DC41E-A50A-4862-9370-4DEAC2EA3967}" srcOrd="1" destOrd="0" presId="urn:microsoft.com/office/officeart/2005/8/layout/lProcess2"/>
    <dgm:cxn modelId="{44517C65-2F7B-4E4F-83CE-4C76ED0D5533}" type="presParOf" srcId="{472DD833-33F3-4F75-A993-8279C294133F}" destId="{C100A51B-056B-46F3-ABC0-4819392AF9EF}" srcOrd="2" destOrd="0" presId="urn:microsoft.com/office/officeart/2005/8/layout/lProcess2"/>
    <dgm:cxn modelId="{F45F43F1-86D0-45C9-BF9C-70889EB3EF9D}" type="presParOf" srcId="{C100A51B-056B-46F3-ABC0-4819392AF9EF}" destId="{187ED460-7CD6-444A-88DD-AEE8053DC98D}" srcOrd="0" destOrd="0" presId="urn:microsoft.com/office/officeart/2005/8/layout/lProcess2"/>
    <dgm:cxn modelId="{347CD69A-EC34-46C5-BDEA-95B1F413886A}" type="presParOf" srcId="{187ED460-7CD6-444A-88DD-AEE8053DC98D}" destId="{B3E1B2EA-8BDB-4C79-9230-738096F3E8E6}" srcOrd="0" destOrd="0" presId="urn:microsoft.com/office/officeart/2005/8/layout/lProcess2"/>
    <dgm:cxn modelId="{AF99A7D6-F4C1-466E-AEF2-68EFB9B3E6D8}" type="presParOf" srcId="{187ED460-7CD6-444A-88DD-AEE8053DC98D}" destId="{C8843D58-261D-4AE3-A775-60848F613E9D}" srcOrd="1" destOrd="0" presId="urn:microsoft.com/office/officeart/2005/8/layout/lProcess2"/>
    <dgm:cxn modelId="{5A2D17C6-681E-4248-8E03-D63944B00505}" type="presParOf" srcId="{187ED460-7CD6-444A-88DD-AEE8053DC98D}" destId="{F1ACF6BE-AB1C-41B1-BBDA-A0F0A68DDDDD}" srcOrd="2" destOrd="0" presId="urn:microsoft.com/office/officeart/2005/8/layout/lProcess2"/>
    <dgm:cxn modelId="{E8E3A1E8-B7C1-4A60-A481-C9A6C8E5429E}" type="presParOf" srcId="{187ED460-7CD6-444A-88DD-AEE8053DC98D}" destId="{F529EEAC-ADC7-4010-9EE4-D4FDB4136CB3}" srcOrd="3" destOrd="0" presId="urn:microsoft.com/office/officeart/2005/8/layout/lProcess2"/>
    <dgm:cxn modelId="{18BA4D78-9BD1-411E-A9AD-2AFC77F5093E}" type="presParOf" srcId="{187ED460-7CD6-444A-88DD-AEE8053DC98D}" destId="{0485384F-AF0C-48DF-91D1-5E7FF583C9A9}" srcOrd="4" destOrd="0" presId="urn:microsoft.com/office/officeart/2005/8/layout/lProcess2"/>
    <dgm:cxn modelId="{85F9711E-29B3-4636-8369-76099A6C4900}" type="presParOf" srcId="{0D2EC500-4F02-42F8-ADD4-88C4ECB54DBE}" destId="{1C1B583D-9509-467B-9D45-FA514BED45E9}" srcOrd="3" destOrd="0" presId="urn:microsoft.com/office/officeart/2005/8/layout/lProcess2"/>
    <dgm:cxn modelId="{7E4BFFDB-6B97-4A48-BBDD-184A4B3A1032}" type="presParOf" srcId="{0D2EC500-4F02-42F8-ADD4-88C4ECB54DBE}" destId="{DBB0A3C1-B829-42B7-B9D2-2D39717DB5BF}" srcOrd="4" destOrd="0" presId="urn:microsoft.com/office/officeart/2005/8/layout/lProcess2"/>
    <dgm:cxn modelId="{403C36D9-3607-4390-93D0-3E52B2E30AC6}" type="presParOf" srcId="{DBB0A3C1-B829-42B7-B9D2-2D39717DB5BF}" destId="{5B5B7956-2CA4-4F13-9342-1A448896D312}" srcOrd="0" destOrd="0" presId="urn:microsoft.com/office/officeart/2005/8/layout/lProcess2"/>
    <dgm:cxn modelId="{03FF34C2-3FAA-4BE0-BD4A-85E9EC2C53AD}" type="presParOf" srcId="{DBB0A3C1-B829-42B7-B9D2-2D39717DB5BF}" destId="{9D26044A-1374-41B8-AA51-ABCA1ECA7CC5}" srcOrd="1" destOrd="0" presId="urn:microsoft.com/office/officeart/2005/8/layout/lProcess2"/>
    <dgm:cxn modelId="{892FF16D-6E4B-464F-AA70-9DF734A1944A}" type="presParOf" srcId="{DBB0A3C1-B829-42B7-B9D2-2D39717DB5BF}" destId="{2F74B2E5-7DAF-411B-9E16-116B04422694}" srcOrd="2" destOrd="0" presId="urn:microsoft.com/office/officeart/2005/8/layout/lProcess2"/>
    <dgm:cxn modelId="{4EECA9BC-82C9-4240-BC89-ECB372922B3F}" type="presParOf" srcId="{2F74B2E5-7DAF-411B-9E16-116B04422694}" destId="{76E9AFB9-1B18-4F2C-8C18-D078538598F9}" srcOrd="0" destOrd="0" presId="urn:microsoft.com/office/officeart/2005/8/layout/lProcess2"/>
    <dgm:cxn modelId="{184D75B9-1C88-4583-B18C-62E6433196B0}" type="presParOf" srcId="{76E9AFB9-1B18-4F2C-8C18-D078538598F9}" destId="{7B838A10-EDC7-40EC-B565-568372287340}" srcOrd="0" destOrd="0" presId="urn:microsoft.com/office/officeart/2005/8/layout/lProcess2"/>
    <dgm:cxn modelId="{37042B28-EFF3-442F-8416-C4CCCA3F989F}" type="presParOf" srcId="{76E9AFB9-1B18-4F2C-8C18-D078538598F9}" destId="{FC836129-9B29-4888-A256-0228459A286A}" srcOrd="1" destOrd="0" presId="urn:microsoft.com/office/officeart/2005/8/layout/lProcess2"/>
    <dgm:cxn modelId="{3845BE53-9649-42C7-B054-0E8A3F605690}" type="presParOf" srcId="{76E9AFB9-1B18-4F2C-8C18-D078538598F9}" destId="{E1D75852-AE78-4536-9CE8-9256D6C7794D}" srcOrd="2" destOrd="0" presId="urn:microsoft.com/office/officeart/2005/8/layout/lProcess2"/>
    <dgm:cxn modelId="{06774C8A-5A9D-44A4-8990-3ED256A2D331}" type="presParOf" srcId="{76E9AFB9-1B18-4F2C-8C18-D078538598F9}" destId="{4208335A-0C75-4DBD-863E-0286428421B5}" srcOrd="3" destOrd="0" presId="urn:microsoft.com/office/officeart/2005/8/layout/lProcess2"/>
    <dgm:cxn modelId="{7AB66D2D-9C74-4277-860E-31B1B42F2B5F}" type="presParOf" srcId="{76E9AFB9-1B18-4F2C-8C18-D078538598F9}" destId="{3EDD59E8-9478-4494-BC67-E3CB0236038C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2B2817-A697-4B7A-8A8A-FF0D2DE02C91}">
      <dsp:nvSpPr>
        <dsp:cNvPr id="0" name=""/>
        <dsp:cNvSpPr/>
      </dsp:nvSpPr>
      <dsp:spPr>
        <a:xfrm>
          <a:off x="1680792" y="1709"/>
          <a:ext cx="1037329" cy="518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EA </a:t>
          </a:r>
          <a:r>
            <a:rPr lang="en-US" sz="1600" kern="1200" err="1"/>
            <a:t>CoE</a:t>
          </a:r>
          <a:endParaRPr lang="en-US" sz="1600" kern="1200"/>
        </a:p>
      </dsp:txBody>
      <dsp:txXfrm>
        <a:off x="1695983" y="16900"/>
        <a:ext cx="1006947" cy="488282"/>
      </dsp:txXfrm>
    </dsp:sp>
    <dsp:sp modelId="{B2E07504-5BA7-4B7F-827C-BC8463DAA3A4}">
      <dsp:nvSpPr>
        <dsp:cNvPr id="0" name=""/>
        <dsp:cNvSpPr/>
      </dsp:nvSpPr>
      <dsp:spPr>
        <a:xfrm>
          <a:off x="1784525" y="520374"/>
          <a:ext cx="103732" cy="3889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8998"/>
              </a:lnTo>
              <a:lnTo>
                <a:pt x="103732" y="38899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D89467-65D9-4E8D-96A9-E78866BBC17E}">
      <dsp:nvSpPr>
        <dsp:cNvPr id="0" name=""/>
        <dsp:cNvSpPr/>
      </dsp:nvSpPr>
      <dsp:spPr>
        <a:xfrm>
          <a:off x="1888258" y="650040"/>
          <a:ext cx="829863" cy="5186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Portfolio Arch</a:t>
          </a:r>
        </a:p>
      </dsp:txBody>
      <dsp:txXfrm>
        <a:off x="1903449" y="665231"/>
        <a:ext cx="799481" cy="488282"/>
      </dsp:txXfrm>
    </dsp:sp>
    <dsp:sp modelId="{6FE86173-FD27-42C1-B1D6-5B853407CBF0}">
      <dsp:nvSpPr>
        <dsp:cNvPr id="0" name=""/>
        <dsp:cNvSpPr/>
      </dsp:nvSpPr>
      <dsp:spPr>
        <a:xfrm>
          <a:off x="1784525" y="520374"/>
          <a:ext cx="103732" cy="10373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37329"/>
              </a:lnTo>
              <a:lnTo>
                <a:pt x="103732" y="103732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4C293B-7E44-43F2-9F5C-94C5F1E56453}">
      <dsp:nvSpPr>
        <dsp:cNvPr id="0" name=""/>
        <dsp:cNvSpPr/>
      </dsp:nvSpPr>
      <dsp:spPr>
        <a:xfrm>
          <a:off x="1888258" y="1298370"/>
          <a:ext cx="829863" cy="5186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Platform Arch</a:t>
          </a:r>
        </a:p>
      </dsp:txBody>
      <dsp:txXfrm>
        <a:off x="1903449" y="1313561"/>
        <a:ext cx="799481" cy="488282"/>
      </dsp:txXfrm>
    </dsp:sp>
    <dsp:sp modelId="{28C5D1AB-FA22-4A64-B26D-FB646AA60D75}">
      <dsp:nvSpPr>
        <dsp:cNvPr id="0" name=""/>
        <dsp:cNvSpPr/>
      </dsp:nvSpPr>
      <dsp:spPr>
        <a:xfrm>
          <a:off x="1784525" y="520374"/>
          <a:ext cx="103732" cy="16856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85659"/>
              </a:lnTo>
              <a:lnTo>
                <a:pt x="103732" y="168565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B4EAA5-935F-45D0-9BE9-37C9BAE59F7A}">
      <dsp:nvSpPr>
        <dsp:cNvPr id="0" name=""/>
        <dsp:cNvSpPr/>
      </dsp:nvSpPr>
      <dsp:spPr>
        <a:xfrm>
          <a:off x="1888258" y="1946701"/>
          <a:ext cx="829863" cy="5186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Infrastructure Arch</a:t>
          </a:r>
        </a:p>
      </dsp:txBody>
      <dsp:txXfrm>
        <a:off x="1903449" y="1961892"/>
        <a:ext cx="799481" cy="488282"/>
      </dsp:txXfrm>
    </dsp:sp>
    <dsp:sp modelId="{F0384E74-5F95-4569-99E0-E5B891A13245}">
      <dsp:nvSpPr>
        <dsp:cNvPr id="0" name=""/>
        <dsp:cNvSpPr/>
      </dsp:nvSpPr>
      <dsp:spPr>
        <a:xfrm>
          <a:off x="1784525" y="520374"/>
          <a:ext cx="103732" cy="23339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3990"/>
              </a:lnTo>
              <a:lnTo>
                <a:pt x="103732" y="23339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0A6795-6C80-4A08-A1D6-E4A3CB667ED2}">
      <dsp:nvSpPr>
        <dsp:cNvPr id="0" name=""/>
        <dsp:cNvSpPr/>
      </dsp:nvSpPr>
      <dsp:spPr>
        <a:xfrm>
          <a:off x="1888258" y="2595032"/>
          <a:ext cx="829863" cy="5186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Security Arch</a:t>
          </a:r>
        </a:p>
      </dsp:txBody>
      <dsp:txXfrm>
        <a:off x="1903449" y="2610223"/>
        <a:ext cx="799481" cy="488282"/>
      </dsp:txXfrm>
    </dsp:sp>
    <dsp:sp modelId="{5C4A381B-2A39-431B-96D5-4B04B7FC4B50}">
      <dsp:nvSpPr>
        <dsp:cNvPr id="0" name=""/>
        <dsp:cNvSpPr/>
      </dsp:nvSpPr>
      <dsp:spPr>
        <a:xfrm>
          <a:off x="1784525" y="520374"/>
          <a:ext cx="103732" cy="29823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82320"/>
              </a:lnTo>
              <a:lnTo>
                <a:pt x="103732" y="298232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6227F0-344A-42B8-92BB-6D0013E2F119}">
      <dsp:nvSpPr>
        <dsp:cNvPr id="0" name=""/>
        <dsp:cNvSpPr/>
      </dsp:nvSpPr>
      <dsp:spPr>
        <a:xfrm>
          <a:off x="1888258" y="3243362"/>
          <a:ext cx="829863" cy="5186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Technology Arch</a:t>
          </a:r>
        </a:p>
      </dsp:txBody>
      <dsp:txXfrm>
        <a:off x="1903449" y="3258553"/>
        <a:ext cx="799481" cy="488282"/>
      </dsp:txXfrm>
    </dsp:sp>
    <dsp:sp modelId="{40693755-87C6-4637-8C1D-DC26AEA391AB}">
      <dsp:nvSpPr>
        <dsp:cNvPr id="0" name=""/>
        <dsp:cNvSpPr/>
      </dsp:nvSpPr>
      <dsp:spPr>
        <a:xfrm>
          <a:off x="2977454" y="1709"/>
          <a:ext cx="1037329" cy="518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Global TDA</a:t>
          </a:r>
        </a:p>
      </dsp:txBody>
      <dsp:txXfrm>
        <a:off x="2992645" y="16900"/>
        <a:ext cx="1006947" cy="488282"/>
      </dsp:txXfrm>
    </dsp:sp>
    <dsp:sp modelId="{49E710A8-3C47-4965-AAF7-E400E08BAFD8}">
      <dsp:nvSpPr>
        <dsp:cNvPr id="0" name=""/>
        <dsp:cNvSpPr/>
      </dsp:nvSpPr>
      <dsp:spPr>
        <a:xfrm>
          <a:off x="3081187" y="520374"/>
          <a:ext cx="103732" cy="3889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8998"/>
              </a:lnTo>
              <a:lnTo>
                <a:pt x="103732" y="38899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3069C5-3C7B-455E-B831-A1351909B880}">
      <dsp:nvSpPr>
        <dsp:cNvPr id="0" name=""/>
        <dsp:cNvSpPr/>
      </dsp:nvSpPr>
      <dsp:spPr>
        <a:xfrm>
          <a:off x="3184919" y="650040"/>
          <a:ext cx="829863" cy="5186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Business Arch</a:t>
          </a:r>
        </a:p>
      </dsp:txBody>
      <dsp:txXfrm>
        <a:off x="3200110" y="665231"/>
        <a:ext cx="799481" cy="488282"/>
      </dsp:txXfrm>
    </dsp:sp>
    <dsp:sp modelId="{5F34324F-DA6E-47B4-B116-B6363845B3CE}">
      <dsp:nvSpPr>
        <dsp:cNvPr id="0" name=""/>
        <dsp:cNvSpPr/>
      </dsp:nvSpPr>
      <dsp:spPr>
        <a:xfrm>
          <a:off x="3081187" y="520374"/>
          <a:ext cx="103732" cy="10373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37329"/>
              </a:lnTo>
              <a:lnTo>
                <a:pt x="103732" y="103732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A1D98D-23E6-401F-B6DB-31527C199FA4}">
      <dsp:nvSpPr>
        <dsp:cNvPr id="0" name=""/>
        <dsp:cNvSpPr/>
      </dsp:nvSpPr>
      <dsp:spPr>
        <a:xfrm>
          <a:off x="3184919" y="1298370"/>
          <a:ext cx="829863" cy="5186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Information Arch</a:t>
          </a:r>
        </a:p>
      </dsp:txBody>
      <dsp:txXfrm>
        <a:off x="3200110" y="1313561"/>
        <a:ext cx="799481" cy="488282"/>
      </dsp:txXfrm>
    </dsp:sp>
    <dsp:sp modelId="{A1534203-A277-4634-ABD4-59334488385E}">
      <dsp:nvSpPr>
        <dsp:cNvPr id="0" name=""/>
        <dsp:cNvSpPr/>
      </dsp:nvSpPr>
      <dsp:spPr>
        <a:xfrm>
          <a:off x="3081187" y="520374"/>
          <a:ext cx="103732" cy="16856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85659"/>
              </a:lnTo>
              <a:lnTo>
                <a:pt x="103732" y="168565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56F862-B002-4EBB-80B2-A880EA2C3DFF}">
      <dsp:nvSpPr>
        <dsp:cNvPr id="0" name=""/>
        <dsp:cNvSpPr/>
      </dsp:nvSpPr>
      <dsp:spPr>
        <a:xfrm>
          <a:off x="3184919" y="1946701"/>
          <a:ext cx="829863" cy="5186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Digital</a:t>
          </a:r>
        </a:p>
      </dsp:txBody>
      <dsp:txXfrm>
        <a:off x="3200110" y="1961892"/>
        <a:ext cx="799481" cy="4882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7F393F-217B-4D8F-B9BF-48C543B50419}">
      <dsp:nvSpPr>
        <dsp:cNvPr id="0" name=""/>
        <dsp:cNvSpPr/>
      </dsp:nvSpPr>
      <dsp:spPr>
        <a:xfrm>
          <a:off x="530" y="0"/>
          <a:ext cx="1378046" cy="386129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Business Unit CIO Team</a:t>
          </a:r>
        </a:p>
      </dsp:txBody>
      <dsp:txXfrm>
        <a:off x="530" y="0"/>
        <a:ext cx="1378046" cy="1158389"/>
      </dsp:txXfrm>
    </dsp:sp>
    <dsp:sp modelId="{0B3E2F14-EAA1-4A58-A971-AD17A158380D}">
      <dsp:nvSpPr>
        <dsp:cNvPr id="0" name=""/>
        <dsp:cNvSpPr/>
      </dsp:nvSpPr>
      <dsp:spPr>
        <a:xfrm>
          <a:off x="138334" y="1158719"/>
          <a:ext cx="1102436" cy="7585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Program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</dsp:txBody>
      <dsp:txXfrm>
        <a:off x="160552" y="1180937"/>
        <a:ext cx="1058000" cy="714154"/>
      </dsp:txXfrm>
    </dsp:sp>
    <dsp:sp modelId="{4B0B1B6B-E018-4CEB-8DDA-B98F71935E10}">
      <dsp:nvSpPr>
        <dsp:cNvPr id="0" name=""/>
        <dsp:cNvSpPr/>
      </dsp:nvSpPr>
      <dsp:spPr>
        <a:xfrm>
          <a:off x="138334" y="2034015"/>
          <a:ext cx="1102436" cy="7585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Digital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</dsp:txBody>
      <dsp:txXfrm>
        <a:off x="160552" y="2056233"/>
        <a:ext cx="1058000" cy="714154"/>
      </dsp:txXfrm>
    </dsp:sp>
    <dsp:sp modelId="{24025F22-5A1B-4E10-AB73-4006B8DAD03B}">
      <dsp:nvSpPr>
        <dsp:cNvPr id="0" name=""/>
        <dsp:cNvSpPr/>
      </dsp:nvSpPr>
      <dsp:spPr>
        <a:xfrm>
          <a:off x="138334" y="2909311"/>
          <a:ext cx="1102436" cy="7585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App Ra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</dsp:txBody>
      <dsp:txXfrm>
        <a:off x="160552" y="2931529"/>
        <a:ext cx="1058000" cy="714154"/>
      </dsp:txXfrm>
    </dsp:sp>
    <dsp:sp modelId="{965ACE37-5230-4355-810D-037A19F579F6}">
      <dsp:nvSpPr>
        <dsp:cNvPr id="0" name=""/>
        <dsp:cNvSpPr/>
      </dsp:nvSpPr>
      <dsp:spPr>
        <a:xfrm>
          <a:off x="1481929" y="0"/>
          <a:ext cx="1378046" cy="386129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Business Unit CIO Team</a:t>
          </a:r>
        </a:p>
      </dsp:txBody>
      <dsp:txXfrm>
        <a:off x="1481929" y="0"/>
        <a:ext cx="1378046" cy="1158389"/>
      </dsp:txXfrm>
    </dsp:sp>
    <dsp:sp modelId="{B3E1B2EA-8BDB-4C79-9230-738096F3E8E6}">
      <dsp:nvSpPr>
        <dsp:cNvPr id="0" name=""/>
        <dsp:cNvSpPr/>
      </dsp:nvSpPr>
      <dsp:spPr>
        <a:xfrm>
          <a:off x="1619734" y="1158719"/>
          <a:ext cx="1102436" cy="7585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Program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</dsp:txBody>
      <dsp:txXfrm>
        <a:off x="1641952" y="1180937"/>
        <a:ext cx="1058000" cy="714154"/>
      </dsp:txXfrm>
    </dsp:sp>
    <dsp:sp modelId="{F1ACF6BE-AB1C-41B1-BBDA-A0F0A68DDDDD}">
      <dsp:nvSpPr>
        <dsp:cNvPr id="0" name=""/>
        <dsp:cNvSpPr/>
      </dsp:nvSpPr>
      <dsp:spPr>
        <a:xfrm>
          <a:off x="1619734" y="2034015"/>
          <a:ext cx="1102436" cy="7585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Digital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</dsp:txBody>
      <dsp:txXfrm>
        <a:off x="1641952" y="2056233"/>
        <a:ext cx="1058000" cy="714154"/>
      </dsp:txXfrm>
    </dsp:sp>
    <dsp:sp modelId="{0485384F-AF0C-48DF-91D1-5E7FF583C9A9}">
      <dsp:nvSpPr>
        <dsp:cNvPr id="0" name=""/>
        <dsp:cNvSpPr/>
      </dsp:nvSpPr>
      <dsp:spPr>
        <a:xfrm>
          <a:off x="1619734" y="2909311"/>
          <a:ext cx="1102436" cy="7585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App Ra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</dsp:txBody>
      <dsp:txXfrm>
        <a:off x="1641952" y="2931529"/>
        <a:ext cx="1058000" cy="714154"/>
      </dsp:txXfrm>
    </dsp:sp>
    <dsp:sp modelId="{5B5B7956-2CA4-4F13-9342-1A448896D312}">
      <dsp:nvSpPr>
        <dsp:cNvPr id="0" name=""/>
        <dsp:cNvSpPr/>
      </dsp:nvSpPr>
      <dsp:spPr>
        <a:xfrm>
          <a:off x="2963858" y="0"/>
          <a:ext cx="1378046" cy="386129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Business Unit CIO Team</a:t>
          </a:r>
        </a:p>
      </dsp:txBody>
      <dsp:txXfrm>
        <a:off x="2963858" y="0"/>
        <a:ext cx="1378046" cy="1158389"/>
      </dsp:txXfrm>
    </dsp:sp>
    <dsp:sp modelId="{7B838A10-EDC7-40EC-B565-568372287340}">
      <dsp:nvSpPr>
        <dsp:cNvPr id="0" name=""/>
        <dsp:cNvSpPr/>
      </dsp:nvSpPr>
      <dsp:spPr>
        <a:xfrm>
          <a:off x="3101133" y="1158719"/>
          <a:ext cx="1102436" cy="7585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Program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</dsp:txBody>
      <dsp:txXfrm>
        <a:off x="3123351" y="1180937"/>
        <a:ext cx="1058000" cy="714154"/>
      </dsp:txXfrm>
    </dsp:sp>
    <dsp:sp modelId="{E1D75852-AE78-4536-9CE8-9256D6C7794D}">
      <dsp:nvSpPr>
        <dsp:cNvPr id="0" name=""/>
        <dsp:cNvSpPr/>
      </dsp:nvSpPr>
      <dsp:spPr>
        <a:xfrm>
          <a:off x="3101133" y="2034015"/>
          <a:ext cx="1102436" cy="7585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Digital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</dsp:txBody>
      <dsp:txXfrm>
        <a:off x="3123351" y="2056233"/>
        <a:ext cx="1058000" cy="714154"/>
      </dsp:txXfrm>
    </dsp:sp>
    <dsp:sp modelId="{3EDD59E8-9478-4494-BC67-E3CB0236038C}">
      <dsp:nvSpPr>
        <dsp:cNvPr id="0" name=""/>
        <dsp:cNvSpPr/>
      </dsp:nvSpPr>
      <dsp:spPr>
        <a:xfrm>
          <a:off x="3101133" y="2909311"/>
          <a:ext cx="1102436" cy="7585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App Ra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800" kern="1200"/>
            <a:t>Project</a:t>
          </a:r>
        </a:p>
      </dsp:txBody>
      <dsp:txXfrm>
        <a:off x="3123351" y="2931529"/>
        <a:ext cx="1058000" cy="7141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9E616A-AC1D-4149-915E-C0A8563586C5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36CD51-D9B1-4043-929B-74D2FE163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684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fld id="{DD779895-3E67-4CB8-BE0C-23F3FD5FF7F3}" type="slidenum">
              <a:rPr kumimoji="0" lang="en-GB" sz="1200" b="1" i="0" u="none" strike="noStrike" kern="0" cap="none" spc="0" normalizeH="0" baseline="0" noProof="0" smtClean="0">
                <a:ln>
                  <a:noFill/>
                </a:ln>
                <a:solidFill>
                  <a:srgbClr val="BBE0E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1" i="0" u="none" strike="noStrike" kern="0" cap="none" spc="0" normalizeH="0" baseline="0" noProof="0">
              <a:ln>
                <a:noFill/>
              </a:ln>
              <a:solidFill>
                <a:srgbClr val="BBE0E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134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1.sv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jpe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0763B6-7B2C-455D-8239-B3277591A3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A46517-B1A8-4082-8478-1C27E954CC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1907DE-3A6F-40C1-8365-C02C52A7B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BCBCB3-2933-4ECA-93BB-6F65BC198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93947-C89E-4377-BCFE-DCBB67F9B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303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61361-D6FC-48BD-B249-29AF12346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5D3692-5BD7-4BBD-A1B2-B4B9F9BBEE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D96102-4445-44E2-88CC-8FB7F38AD4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B2F380-2413-4F37-94BF-6F8B8B57E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D64B38-8F7B-4C44-9D5E-0CBE5CCAF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4378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030716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ing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422342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ing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661360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4308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2837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6424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8204898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lvl="2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nsert a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rmat the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the chart title text box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source and notes</a:t>
            </a:r>
          </a:p>
          <a:p>
            <a:pPr marL="0" lvl="2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existing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existing chart and delet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377318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lvl="2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nsert a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rmat the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the chart title text box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source and notes</a:t>
            </a:r>
          </a:p>
          <a:p>
            <a:pPr marL="0" lvl="2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existing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existing chart and delet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612508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lvl="2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nsert a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rmat the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the chart title text box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source and notes</a:t>
            </a:r>
          </a:p>
          <a:p>
            <a:pPr marL="0" lvl="2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existing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existing chart and delet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75892306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EBCB96C-54A7-4D3F-B30F-12EF90D05A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AD37DC0-9BDF-4E6F-B45E-F65A9FCD6F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5C036B-3A9D-4F07-8ACD-05ACC8905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4F88CD-0C2E-4F86-8A4E-04ECD9549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E6D2E8-3C14-4F88-B4B1-6D263B773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44884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lvl="2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nsert a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rmat the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the chart title text box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source and notes</a:t>
            </a:r>
          </a:p>
          <a:p>
            <a:pPr marL="0" lvl="2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existing chart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existing chart and delet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25105506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ing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55882860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ing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>
              <a:defRPr/>
            </a:pPr>
            <a:r>
              <a:rPr lang="en-GB" sz="800" b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120648" lvl="2" indent="-120648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53064917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127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184325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011965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buClr>
                <a:srgbClr val="55555A"/>
              </a:buClr>
            </a:pPr>
            <a:fld id="{C765D33F-A874-457A-8BB6-233806FE7182}" type="slidenum">
              <a:rPr sz="800">
                <a:solidFill>
                  <a:srgbClr val="55555A"/>
                </a:solidFill>
              </a:rPr>
              <a:pPr>
                <a:buClr>
                  <a:srgbClr val="55555A"/>
                </a:buClr>
              </a:pPr>
              <a:t>‹#›</a:t>
            </a:fld>
            <a:endParaRPr sz="800">
              <a:solidFill>
                <a:srgbClr val="55555A"/>
              </a:solidFill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  <a:buClr>
                  <a:srgbClr val="55555A"/>
                </a:buClr>
              </a:pPr>
              <a:endParaRPr lang="en-GB" sz="2400" b="1" kern="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4076170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D47BFF-EB9B-48D5-85DC-0693B2A46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2" y="838201"/>
            <a:ext cx="11010900" cy="287259"/>
          </a:xfrm>
        </p:spPr>
        <p:txBody>
          <a:bodyPr/>
          <a:lstStyle>
            <a:lvl1pPr>
              <a:defRPr sz="1867" b="0"/>
            </a:lvl1pPr>
            <a:lvl5pPr marL="719982" indent="0">
              <a:buNone/>
              <a:defRPr/>
            </a:lvl5pPr>
          </a:lstStyle>
          <a:p>
            <a:pPr lvl="0"/>
            <a:r>
              <a:rPr lang="en-US"/>
              <a:t>Click to edit Sub 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962992703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prstClr val="black"/>
              </a:buClr>
            </a:pPr>
            <a:fld id="{B82957F8-9849-47FD-A789-330E1DE09E0E}" type="datetime1">
              <a:rPr lang="en-GB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</a:pPr>
              <a:t>26/01/20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prstClr val="black"/>
              </a:buClr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prstClr val="black"/>
              </a:buClr>
            </a:pPr>
            <a:fld id="{5F1CB4BB-C9C0-43E9-BD6A-C287605A3B9D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buClr>
                  <a:prstClr val="black"/>
                </a:buClr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57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06751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87083" y="6363129"/>
            <a:ext cx="7753255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0909612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4721691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20548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021" y="6053372"/>
            <a:ext cx="2768464" cy="48247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1695913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021" y="6155682"/>
            <a:ext cx="2763048" cy="327855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69558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sp>
        <p:nvSpPr>
          <p:cNvPr id="15" name="Picture Placeholder 12"/>
          <p:cNvSpPr>
            <a:spLocks noGrp="1" noChangeAspect="1"/>
          </p:cNvSpPr>
          <p:nvPr>
            <p:ph type="pic" sz="quarter" idx="15" hasCustomPrompt="1"/>
          </p:nvPr>
        </p:nvSpPr>
        <p:spPr bwMode="gray">
          <a:xfrm rot="16200000">
            <a:off x="-137512" y="475143"/>
            <a:ext cx="537365" cy="26868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3329" y="6024761"/>
            <a:ext cx="2688937" cy="468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88043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462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DEC8E5-BA6B-42C0-9D43-27D241455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3F0957-4F5A-4B24-84E9-0A24879C2F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450C1A-305D-44E5-9FD0-5ABEF78E6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92F722-F418-4025-A10A-802C91B7E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EEFFA3-39BD-4E7A-A668-19D6319864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2943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4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0112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  <p:pic>
        <p:nvPicPr>
          <p:cNvPr id="10" name="Graphic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23329" y="6024761"/>
            <a:ext cx="2688937" cy="468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71323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3128" y="6128283"/>
            <a:ext cx="1808992" cy="488191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17142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99382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357753649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3329" y="6024761"/>
            <a:ext cx="2688937" cy="468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11738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951168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48273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48273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6355959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7"/>
            <a:ext cx="7392828" cy="24827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760735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6697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7A42A-4CEA-4DF6-B0FF-26F5917BD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46486-8F8E-4A7F-B74F-6F2412B69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983817-3A79-4DAD-A10E-0C56F4AAD3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04CE9-FBA1-47D6-B9C3-E61024BD2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3F2A9B-B04E-48FD-BC4A-BF4920655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9084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2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117900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5260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222447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010679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766540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03339310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4" y="2528888"/>
            <a:ext cx="7239691" cy="3488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67" baseline="0">
                <a:solidFill>
                  <a:schemeClr val="bg1"/>
                </a:solidFill>
                <a:latin typeface="+mn-lt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67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4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67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6597884"/>
            <a:ext cx="3799424" cy="82073"/>
          </a:xfrm>
        </p:spPr>
        <p:txBody>
          <a:bodyPr lIns="0"/>
          <a:lstStyle>
            <a:lvl1pPr marL="0" indent="0">
              <a:buNone/>
              <a:defRPr sz="533">
                <a:solidFill>
                  <a:schemeClr val="bg1"/>
                </a:solidFill>
              </a:defRPr>
            </a:lvl1pPr>
            <a:lvl2pPr>
              <a:defRPr sz="667">
                <a:solidFill>
                  <a:schemeClr val="bg1"/>
                </a:solidFill>
              </a:defRPr>
            </a:lvl2pPr>
            <a:lvl3pPr>
              <a:defRPr sz="667">
                <a:solidFill>
                  <a:schemeClr val="bg1"/>
                </a:solidFill>
              </a:defRPr>
            </a:lvl3pPr>
            <a:lvl4pPr>
              <a:defRPr sz="667">
                <a:solidFill>
                  <a:schemeClr val="bg1"/>
                </a:solidFill>
              </a:defRPr>
            </a:lvl4pPr>
            <a:lvl5pPr>
              <a:defRPr sz="6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7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</p:grpSp>
    </p:spTree>
    <p:extLst>
      <p:ext uri="{BB962C8B-B14F-4D97-AF65-F5344CB8AC3E}">
        <p14:creationId xmlns:p14="http://schemas.microsoft.com/office/powerpoint/2010/main" val="35212124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3" y="2528888"/>
            <a:ext cx="7239691" cy="3385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3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6597883"/>
            <a:ext cx="3799424" cy="76944"/>
          </a:xfrm>
        </p:spPr>
        <p:txBody>
          <a:bodyPr lIns="0"/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  <a:lvl2pPr>
              <a:defRPr sz="700">
                <a:solidFill>
                  <a:schemeClr val="bg1"/>
                </a:solidFill>
              </a:defRPr>
            </a:lvl2pPr>
            <a:lvl3pPr>
              <a:defRPr sz="700">
                <a:solidFill>
                  <a:schemeClr val="bg1"/>
                </a:solidFill>
              </a:defRPr>
            </a:lvl3pPr>
            <a:lvl4pPr>
              <a:defRPr sz="7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6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8050717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/>
        </p:nvSpPr>
        <p:spPr bwMode="gray">
          <a:xfrm>
            <a:off x="16935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016920026508590 columns_1_132016920026508590 </a:t>
            </a:r>
            <a:endParaRPr lang="en-GB" sz="133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32F4D0-9DA8-48D5-B206-F144366177CE}"/>
              </a:ext>
            </a:extLst>
          </p:cNvPr>
          <p:cNvSpPr txBox="1"/>
          <p:nvPr userDrawn="1"/>
        </p:nvSpPr>
        <p:spPr bwMode="gray">
          <a:xfrm>
            <a:off x="7915071" y="2"/>
            <a:ext cx="3941967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>
                <a:solidFill>
                  <a:srgbClr val="FF0000"/>
                </a:solidFill>
              </a:rPr>
              <a:t>CONFIDENTIAL FOR INTERNAL DISTRIBUTION ONLY</a:t>
            </a:r>
          </a:p>
        </p:txBody>
      </p:sp>
    </p:spTree>
    <p:extLst>
      <p:ext uri="{BB962C8B-B14F-4D97-AF65-F5344CB8AC3E}">
        <p14:creationId xmlns:p14="http://schemas.microsoft.com/office/powerpoint/2010/main" val="18263388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3688">
          <p15:clr>
            <a:srgbClr val="CCCCCC"/>
          </p15:clr>
        </p15:guide>
        <p15:guide id="3" pos="3992">
          <p15:clr>
            <a:srgbClr val="CCCCCC"/>
          </p15:clr>
        </p15:guide>
        <p15:guide id="4" pos="7472">
          <p15:clr>
            <a:srgbClr val="CCCCCC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 userDrawn="1"/>
        </p:nvSpPr>
        <p:spPr bwMode="gray">
          <a:xfrm>
            <a:off x="16935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016875317077236 columns_1_132016875317077236 </a:t>
            </a:r>
            <a:endParaRPr lang="en-GB" sz="133" err="1">
              <a:solidFill>
                <a:srgbClr val="FFFFFF">
                  <a:alpha val="0"/>
                </a:srgbClr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3629027" y="2909035"/>
            <a:ext cx="4933951" cy="1039932"/>
            <a:chOff x="2910342" y="325575"/>
            <a:chExt cx="5928968" cy="1249653"/>
          </a:xfrm>
        </p:grpSpPr>
        <p:sp>
          <p:nvSpPr>
            <p:cNvPr id="3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3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3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3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3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</p:grpSp>
    </p:spTree>
    <p:extLst>
      <p:ext uri="{BB962C8B-B14F-4D97-AF65-F5344CB8AC3E}">
        <p14:creationId xmlns:p14="http://schemas.microsoft.com/office/powerpoint/2010/main" val="22707665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B2B4B-EA25-4A3C-8EA4-F8885E68A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018071-34D7-4376-8842-841B442726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55D69D-0F05-41AD-B2C4-0EB987CD12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5875E1-A69F-429C-A9AA-ED2F3FA3E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A82FF8-ECA9-46B5-95CD-3689629115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223501-63D5-4CCC-B15B-A958FD500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6506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4" y="2528888"/>
            <a:ext cx="7239691" cy="3488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67" baseline="0">
                <a:solidFill>
                  <a:schemeClr val="bg1"/>
                </a:solidFill>
                <a:latin typeface="+mn-lt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67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4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67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6080557" y="3530264"/>
            <a:ext cx="6111443" cy="3327739"/>
          </a:xfrm>
          <a:custGeom>
            <a:avLst/>
            <a:gdLst>
              <a:gd name="connsiteX0" fmla="*/ 3303371 w 6111442"/>
              <a:gd name="connsiteY0" fmla="*/ 0 h 3327739"/>
              <a:gd name="connsiteX1" fmla="*/ 6111442 w 6111442"/>
              <a:gd name="connsiteY1" fmla="*/ 2828785 h 3327739"/>
              <a:gd name="connsiteX2" fmla="*/ 6111442 w 6111442"/>
              <a:gd name="connsiteY2" fmla="*/ 3327739 h 3327739"/>
              <a:gd name="connsiteX3" fmla="*/ 0 w 6111442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442" h="3327739">
                <a:moveTo>
                  <a:pt x="3303371" y="0"/>
                </a:moveTo>
                <a:lnTo>
                  <a:pt x="6111442" y="2828785"/>
                </a:lnTo>
                <a:lnTo>
                  <a:pt x="6111442" y="3327739"/>
                </a:lnTo>
                <a:lnTo>
                  <a:pt x="0" y="3327739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5"/>
          </p:nvPr>
        </p:nvSpPr>
        <p:spPr>
          <a:xfrm>
            <a:off x="9479075" y="2452281"/>
            <a:ext cx="1947600" cy="3668316"/>
          </a:xfrm>
          <a:prstGeom prst="diamond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6"/>
          </p:nvPr>
        </p:nvSpPr>
        <p:spPr>
          <a:xfrm>
            <a:off x="8234593" y="4"/>
            <a:ext cx="3957409" cy="3335677"/>
          </a:xfrm>
          <a:custGeom>
            <a:avLst/>
            <a:gdLst>
              <a:gd name="connsiteX0" fmla="*/ 0 w 3957409"/>
              <a:gd name="connsiteY0" fmla="*/ 0 h 3335677"/>
              <a:gd name="connsiteX1" fmla="*/ 3957409 w 3957409"/>
              <a:gd name="connsiteY1" fmla="*/ 0 h 3335677"/>
              <a:gd name="connsiteX2" fmla="*/ 3957409 w 3957409"/>
              <a:gd name="connsiteY2" fmla="*/ 2677703 h 3335677"/>
              <a:gd name="connsiteX3" fmla="*/ 3305406 w 3957409"/>
              <a:gd name="connsiteY3" fmla="*/ 3335677 h 3335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409" h="3335677">
                <a:moveTo>
                  <a:pt x="0" y="0"/>
                </a:moveTo>
                <a:lnTo>
                  <a:pt x="3957409" y="0"/>
                </a:lnTo>
                <a:lnTo>
                  <a:pt x="3957409" y="2677703"/>
                </a:lnTo>
                <a:lnTo>
                  <a:pt x="3305406" y="3335677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493176" y="6597884"/>
            <a:ext cx="3799424" cy="82073"/>
          </a:xfrm>
        </p:spPr>
        <p:txBody>
          <a:bodyPr/>
          <a:lstStyle>
            <a:lvl1pPr marL="0" indent="0">
              <a:buNone/>
              <a:defRPr sz="533">
                <a:solidFill>
                  <a:schemeClr val="bg1"/>
                </a:solidFill>
              </a:defRPr>
            </a:lvl1pPr>
            <a:lvl2pPr>
              <a:defRPr sz="667">
                <a:solidFill>
                  <a:schemeClr val="bg1"/>
                </a:solidFill>
              </a:defRPr>
            </a:lvl2pPr>
            <a:lvl3pPr>
              <a:defRPr sz="667">
                <a:solidFill>
                  <a:schemeClr val="bg1"/>
                </a:solidFill>
              </a:defRPr>
            </a:lvl3pPr>
            <a:lvl4pPr>
              <a:defRPr sz="667">
                <a:solidFill>
                  <a:schemeClr val="bg1"/>
                </a:solidFill>
              </a:defRPr>
            </a:lvl4pPr>
            <a:lvl5pPr>
              <a:defRPr sz="6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7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</p:grpSp>
    </p:spTree>
    <p:extLst>
      <p:ext uri="{BB962C8B-B14F-4D97-AF65-F5344CB8AC3E}">
        <p14:creationId xmlns:p14="http://schemas.microsoft.com/office/powerpoint/2010/main" val="11842868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1">
          <p15:clr>
            <a:srgbClr val="CCCCCC"/>
          </p15:clr>
        </p15:guide>
        <p15:guide id="2" pos="7333">
          <p15:clr>
            <a:srgbClr val="CCCCCC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4" y="2528888"/>
            <a:ext cx="7239691" cy="3488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67" baseline="0">
                <a:solidFill>
                  <a:schemeClr val="bg1"/>
                </a:solidFill>
                <a:latin typeface="+mn-lt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67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4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67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6080557" y="3530264"/>
            <a:ext cx="6111443" cy="3327739"/>
          </a:xfrm>
          <a:custGeom>
            <a:avLst/>
            <a:gdLst>
              <a:gd name="connsiteX0" fmla="*/ 3303371 w 6111442"/>
              <a:gd name="connsiteY0" fmla="*/ 0 h 3327739"/>
              <a:gd name="connsiteX1" fmla="*/ 6111442 w 6111442"/>
              <a:gd name="connsiteY1" fmla="*/ 2828785 h 3327739"/>
              <a:gd name="connsiteX2" fmla="*/ 6111442 w 6111442"/>
              <a:gd name="connsiteY2" fmla="*/ 3327739 h 3327739"/>
              <a:gd name="connsiteX3" fmla="*/ 0 w 6111442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442" h="3327739">
                <a:moveTo>
                  <a:pt x="3303371" y="0"/>
                </a:moveTo>
                <a:lnTo>
                  <a:pt x="6111442" y="2828785"/>
                </a:lnTo>
                <a:lnTo>
                  <a:pt x="6111442" y="3327739"/>
                </a:lnTo>
                <a:lnTo>
                  <a:pt x="0" y="3327739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5"/>
          </p:nvPr>
        </p:nvSpPr>
        <p:spPr>
          <a:xfrm>
            <a:off x="9479075" y="2452281"/>
            <a:ext cx="1947600" cy="3668316"/>
          </a:xfrm>
          <a:prstGeom prst="diamond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6"/>
          </p:nvPr>
        </p:nvSpPr>
        <p:spPr>
          <a:xfrm>
            <a:off x="8234593" y="4"/>
            <a:ext cx="3957409" cy="3335677"/>
          </a:xfrm>
          <a:custGeom>
            <a:avLst/>
            <a:gdLst>
              <a:gd name="connsiteX0" fmla="*/ 0 w 3957409"/>
              <a:gd name="connsiteY0" fmla="*/ 0 h 3335677"/>
              <a:gd name="connsiteX1" fmla="*/ 3957409 w 3957409"/>
              <a:gd name="connsiteY1" fmla="*/ 0 h 3335677"/>
              <a:gd name="connsiteX2" fmla="*/ 3957409 w 3957409"/>
              <a:gd name="connsiteY2" fmla="*/ 2677703 h 3335677"/>
              <a:gd name="connsiteX3" fmla="*/ 3305406 w 3957409"/>
              <a:gd name="connsiteY3" fmla="*/ 3335677 h 3335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409" h="3335677">
                <a:moveTo>
                  <a:pt x="0" y="0"/>
                </a:moveTo>
                <a:lnTo>
                  <a:pt x="3957409" y="0"/>
                </a:lnTo>
                <a:lnTo>
                  <a:pt x="3957409" y="2677703"/>
                </a:lnTo>
                <a:lnTo>
                  <a:pt x="3305406" y="333567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493176" y="6597884"/>
            <a:ext cx="3799424" cy="82073"/>
          </a:xfrm>
        </p:spPr>
        <p:txBody>
          <a:bodyPr/>
          <a:lstStyle>
            <a:lvl1pPr marL="0" indent="0">
              <a:buNone/>
              <a:defRPr sz="533">
                <a:solidFill>
                  <a:schemeClr val="bg1"/>
                </a:solidFill>
              </a:defRPr>
            </a:lvl1pPr>
            <a:lvl2pPr>
              <a:defRPr sz="667">
                <a:solidFill>
                  <a:schemeClr val="bg1"/>
                </a:solidFill>
              </a:defRPr>
            </a:lvl2pPr>
            <a:lvl3pPr>
              <a:defRPr sz="667">
                <a:solidFill>
                  <a:schemeClr val="bg1"/>
                </a:solidFill>
              </a:defRPr>
            </a:lvl3pPr>
            <a:lvl4pPr>
              <a:defRPr sz="667">
                <a:solidFill>
                  <a:schemeClr val="bg1"/>
                </a:solidFill>
              </a:defRPr>
            </a:lvl4pPr>
            <a:lvl5pPr>
              <a:defRPr sz="6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7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</p:grpSp>
    </p:spTree>
    <p:extLst>
      <p:ext uri="{BB962C8B-B14F-4D97-AF65-F5344CB8AC3E}">
        <p14:creationId xmlns:p14="http://schemas.microsoft.com/office/powerpoint/2010/main" val="30859820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1">
          <p15:clr>
            <a:srgbClr val="CCCCCC"/>
          </p15:clr>
        </p15:guide>
        <p15:guide id="2" pos="7333">
          <p15:clr>
            <a:srgbClr val="CCCCCC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753816-7D2D-4298-BCC6-5CB4020C19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753816-7D2D-4298-BCC6-5CB4020C19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BCFB32-80B7-437B-B441-03C3A993C6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3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2" y="622803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08030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0373" y="1790225"/>
            <a:ext cx="11426776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747" y="1022695"/>
            <a:ext cx="11426776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2" marR="0" lvl="2" indent="-120642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2" marR="0" lvl="2" indent="-120642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2" marR="0" lvl="2" indent="-120642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24346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Pag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 userDrawn="1"/>
        </p:nvSpPr>
        <p:spPr bwMode="gray">
          <a:xfrm>
            <a:off x="16935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016875317077236 columns_1_132016875317077236 </a:t>
            </a:r>
            <a:endParaRPr lang="en-GB" sz="133" err="1">
              <a:solidFill>
                <a:srgbClr val="FFFFFF">
                  <a:alpha val="0"/>
                </a:srgbClr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3629026" y="2909035"/>
            <a:ext cx="4933951" cy="1039932"/>
            <a:chOff x="2910342" y="325575"/>
            <a:chExt cx="5928968" cy="1249653"/>
          </a:xfrm>
        </p:grpSpPr>
        <p:sp>
          <p:nvSpPr>
            <p:cNvPr id="3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248193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3" y="2528888"/>
            <a:ext cx="7239691" cy="3385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3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6080557" y="3530263"/>
            <a:ext cx="6111443" cy="3327739"/>
          </a:xfrm>
          <a:custGeom>
            <a:avLst/>
            <a:gdLst>
              <a:gd name="connsiteX0" fmla="*/ 3303371 w 6111442"/>
              <a:gd name="connsiteY0" fmla="*/ 0 h 3327739"/>
              <a:gd name="connsiteX1" fmla="*/ 6111442 w 6111442"/>
              <a:gd name="connsiteY1" fmla="*/ 2828785 h 3327739"/>
              <a:gd name="connsiteX2" fmla="*/ 6111442 w 6111442"/>
              <a:gd name="connsiteY2" fmla="*/ 3327739 h 3327739"/>
              <a:gd name="connsiteX3" fmla="*/ 0 w 6111442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442" h="3327739">
                <a:moveTo>
                  <a:pt x="3303371" y="0"/>
                </a:moveTo>
                <a:lnTo>
                  <a:pt x="6111442" y="2828785"/>
                </a:lnTo>
                <a:lnTo>
                  <a:pt x="6111442" y="3327739"/>
                </a:lnTo>
                <a:lnTo>
                  <a:pt x="0" y="3327739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5"/>
          </p:nvPr>
        </p:nvSpPr>
        <p:spPr>
          <a:xfrm>
            <a:off x="9479075" y="2452280"/>
            <a:ext cx="1947600" cy="3668316"/>
          </a:xfrm>
          <a:prstGeom prst="diamond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6"/>
          </p:nvPr>
        </p:nvSpPr>
        <p:spPr>
          <a:xfrm>
            <a:off x="8234592" y="3"/>
            <a:ext cx="3957409" cy="3335677"/>
          </a:xfrm>
          <a:custGeom>
            <a:avLst/>
            <a:gdLst>
              <a:gd name="connsiteX0" fmla="*/ 0 w 3957409"/>
              <a:gd name="connsiteY0" fmla="*/ 0 h 3335677"/>
              <a:gd name="connsiteX1" fmla="*/ 3957409 w 3957409"/>
              <a:gd name="connsiteY1" fmla="*/ 0 h 3335677"/>
              <a:gd name="connsiteX2" fmla="*/ 3957409 w 3957409"/>
              <a:gd name="connsiteY2" fmla="*/ 2677703 h 3335677"/>
              <a:gd name="connsiteX3" fmla="*/ 3305406 w 3957409"/>
              <a:gd name="connsiteY3" fmla="*/ 3335677 h 3335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409" h="3335677">
                <a:moveTo>
                  <a:pt x="0" y="0"/>
                </a:moveTo>
                <a:lnTo>
                  <a:pt x="3957409" y="0"/>
                </a:lnTo>
                <a:lnTo>
                  <a:pt x="3957409" y="2677703"/>
                </a:lnTo>
                <a:lnTo>
                  <a:pt x="3305406" y="3335677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493176" y="6597883"/>
            <a:ext cx="3799424" cy="76944"/>
          </a:xfrm>
        </p:spPr>
        <p:txBody>
          <a:bodyPr/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  <a:lvl2pPr>
              <a:defRPr sz="700">
                <a:solidFill>
                  <a:schemeClr val="bg1"/>
                </a:solidFill>
              </a:defRPr>
            </a:lvl2pPr>
            <a:lvl3pPr>
              <a:defRPr sz="700">
                <a:solidFill>
                  <a:schemeClr val="bg1"/>
                </a:solidFill>
              </a:defRPr>
            </a:lvl3pPr>
            <a:lvl4pPr>
              <a:defRPr sz="7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6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5172136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1">
          <p15:clr>
            <a:srgbClr val="CCCCCC"/>
          </p15:clr>
        </p15:guide>
        <p15:guide id="2" pos="7333">
          <p15:clr>
            <a:srgbClr val="CCCCCC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3" y="2528888"/>
            <a:ext cx="7239691" cy="3385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3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6080557" y="3530263"/>
            <a:ext cx="6111443" cy="3327739"/>
          </a:xfrm>
          <a:custGeom>
            <a:avLst/>
            <a:gdLst>
              <a:gd name="connsiteX0" fmla="*/ 3303371 w 6111442"/>
              <a:gd name="connsiteY0" fmla="*/ 0 h 3327739"/>
              <a:gd name="connsiteX1" fmla="*/ 6111442 w 6111442"/>
              <a:gd name="connsiteY1" fmla="*/ 2828785 h 3327739"/>
              <a:gd name="connsiteX2" fmla="*/ 6111442 w 6111442"/>
              <a:gd name="connsiteY2" fmla="*/ 3327739 h 3327739"/>
              <a:gd name="connsiteX3" fmla="*/ 0 w 6111442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442" h="3327739">
                <a:moveTo>
                  <a:pt x="3303371" y="0"/>
                </a:moveTo>
                <a:lnTo>
                  <a:pt x="6111442" y="2828785"/>
                </a:lnTo>
                <a:lnTo>
                  <a:pt x="6111442" y="3327739"/>
                </a:lnTo>
                <a:lnTo>
                  <a:pt x="0" y="3327739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5"/>
          </p:nvPr>
        </p:nvSpPr>
        <p:spPr>
          <a:xfrm>
            <a:off x="9479075" y="2452280"/>
            <a:ext cx="1947600" cy="3668316"/>
          </a:xfrm>
          <a:prstGeom prst="diamond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6"/>
          </p:nvPr>
        </p:nvSpPr>
        <p:spPr>
          <a:xfrm>
            <a:off x="8234592" y="3"/>
            <a:ext cx="3957409" cy="3335677"/>
          </a:xfrm>
          <a:custGeom>
            <a:avLst/>
            <a:gdLst>
              <a:gd name="connsiteX0" fmla="*/ 0 w 3957409"/>
              <a:gd name="connsiteY0" fmla="*/ 0 h 3335677"/>
              <a:gd name="connsiteX1" fmla="*/ 3957409 w 3957409"/>
              <a:gd name="connsiteY1" fmla="*/ 0 h 3335677"/>
              <a:gd name="connsiteX2" fmla="*/ 3957409 w 3957409"/>
              <a:gd name="connsiteY2" fmla="*/ 2677703 h 3335677"/>
              <a:gd name="connsiteX3" fmla="*/ 3305406 w 3957409"/>
              <a:gd name="connsiteY3" fmla="*/ 3335677 h 3335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409" h="3335677">
                <a:moveTo>
                  <a:pt x="0" y="0"/>
                </a:moveTo>
                <a:lnTo>
                  <a:pt x="3957409" y="0"/>
                </a:lnTo>
                <a:lnTo>
                  <a:pt x="3957409" y="2677703"/>
                </a:lnTo>
                <a:lnTo>
                  <a:pt x="3305406" y="333567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493176" y="6597883"/>
            <a:ext cx="3799424" cy="76944"/>
          </a:xfrm>
        </p:spPr>
        <p:txBody>
          <a:bodyPr/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  <a:lvl2pPr>
              <a:defRPr sz="700">
                <a:solidFill>
                  <a:schemeClr val="bg1"/>
                </a:solidFill>
              </a:defRPr>
            </a:lvl2pPr>
            <a:lvl3pPr>
              <a:defRPr sz="700">
                <a:solidFill>
                  <a:schemeClr val="bg1"/>
                </a:solidFill>
              </a:defRPr>
            </a:lvl3pPr>
            <a:lvl4pPr>
              <a:defRPr sz="7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6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3555727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1">
          <p15:clr>
            <a:srgbClr val="CCCCCC"/>
          </p15:clr>
        </p15:guide>
        <p15:guide id="2" pos="7333">
          <p15:clr>
            <a:srgbClr val="CCCCCC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753816-7D2D-4298-BCC6-5CB4020C19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753816-7D2D-4298-BCC6-5CB4020C19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BCFB32-80B7-437B-B441-03C3A993C6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26689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0373" y="1790224"/>
            <a:ext cx="11426776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747" y="1022695"/>
            <a:ext cx="11426776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65214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374" y="1411818"/>
            <a:ext cx="11331253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2957F8-9849-47FD-A789-330E1DE09E0E}" type="datetime1">
              <a:rPr lang="en-GB" smtClean="0"/>
              <a:t>26/01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CB4BB-C9C0-43E9-BD6A-C287605A3B9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9053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75017-6632-4BF8-8641-62D66039A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1707F0-83E2-4112-BB16-C06302C0FA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B44749-11E9-411D-92DE-C0E4EB3DDF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09EB4E-5F21-4E18-B1B0-A46BAA3B73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42FE2C-A50A-4607-9907-246816DEB6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5337F9-848F-4F6F-A069-C76ECE0E11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9CEB76-308A-4330-B6D4-EBA11B876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515037-D1C7-42AC-8C9D-30A34C192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0421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11329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892499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5637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24896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553971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740356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14CEF05-D687-48BB-A5C0-6FA9CAAEA9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553971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1945156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345631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D2647476-755C-418D-A3DE-816514B910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553971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1023464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345631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9FA6CD80-F6D0-4089-B5A3-8804EC9812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553971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3588779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2512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1950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7160544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41038635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86ACF-1989-46FF-8F1B-0F42C02E5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8EE240-B888-4D1E-B15B-28240F8A6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C44CEE-E988-4029-8DBE-0A4777CE0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F7D39F-7192-4DFC-A74B-641EEE0C1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7824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719826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23264532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92311413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8"/>
            <a:ext cx="3456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7538432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1"/>
            <a:ext cx="2250019" cy="1159420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1"/>
            <a:ext cx="2250019" cy="1159420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1"/>
            <a:ext cx="2250019" cy="1159420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1900788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6334512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GB"/>
              <a:t> </a:t>
            </a:r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4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2979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742418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GB"/>
              <a:t> </a:t>
            </a:r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74670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231B8D91-3113-4251-BBA5-C25AE54B04E5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3258646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1D6AFC-0D96-4EDF-B513-2B7FA2045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A6F558-C1F7-43A7-9296-E9B37D59B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C824E-0542-4A91-B4E2-B94AC90C7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29296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5" name="Round Diagonal Corner Rectangle 4">
            <a:extLst>
              <a:ext uri="{FF2B5EF4-FFF2-40B4-BE49-F238E27FC236}">
                <a16:creationId xmlns:a16="http://schemas.microsoft.com/office/drawing/2014/main" id="{37609B83-716F-4C19-B524-DF1CE466DE04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44AFBBA-7610-4A43-B583-B8E6F6343F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4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89710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015393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60415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79138463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67735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909201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48273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48273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28402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7"/>
            <a:ext cx="7392828" cy="24827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1411007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867774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2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121368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8917F8-68AD-44A7-B99B-C5155980A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90600-68EC-4780-8BCD-9E79D3F1F4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EF22C0-97AA-4001-A04E-567AA844A2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966407-EFCD-45DE-8923-2F145DE83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F78CD4-DDBF-48AF-8DD9-22EB17E8B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D84BCF-28F6-455D-A6FC-1A73D28F2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88959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771914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155516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020469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4504968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472702524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4" y="2528888"/>
            <a:ext cx="7239691" cy="3488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67" baseline="0">
                <a:solidFill>
                  <a:schemeClr val="bg1"/>
                </a:solidFill>
                <a:latin typeface="+mn-lt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67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4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67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6597884"/>
            <a:ext cx="3799424" cy="82073"/>
          </a:xfrm>
        </p:spPr>
        <p:txBody>
          <a:bodyPr lIns="0"/>
          <a:lstStyle>
            <a:lvl1pPr marL="0" indent="0">
              <a:buNone/>
              <a:defRPr sz="533">
                <a:solidFill>
                  <a:schemeClr val="bg1"/>
                </a:solidFill>
              </a:defRPr>
            </a:lvl1pPr>
            <a:lvl2pPr>
              <a:defRPr sz="667">
                <a:solidFill>
                  <a:schemeClr val="bg1"/>
                </a:solidFill>
              </a:defRPr>
            </a:lvl2pPr>
            <a:lvl3pPr>
              <a:defRPr sz="667">
                <a:solidFill>
                  <a:schemeClr val="bg1"/>
                </a:solidFill>
              </a:defRPr>
            </a:lvl3pPr>
            <a:lvl4pPr>
              <a:defRPr sz="667">
                <a:solidFill>
                  <a:schemeClr val="bg1"/>
                </a:solidFill>
              </a:defRPr>
            </a:lvl4pPr>
            <a:lvl5pPr>
              <a:defRPr sz="6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7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</p:grpSp>
    </p:spTree>
    <p:extLst>
      <p:ext uri="{BB962C8B-B14F-4D97-AF65-F5344CB8AC3E}">
        <p14:creationId xmlns:p14="http://schemas.microsoft.com/office/powerpoint/2010/main" val="2370864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3" y="2528888"/>
            <a:ext cx="7239691" cy="3385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3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6597883"/>
            <a:ext cx="3799424" cy="76944"/>
          </a:xfrm>
        </p:spPr>
        <p:txBody>
          <a:bodyPr lIns="0"/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  <a:lvl2pPr>
              <a:defRPr sz="700">
                <a:solidFill>
                  <a:schemeClr val="bg1"/>
                </a:solidFill>
              </a:defRPr>
            </a:lvl2pPr>
            <a:lvl3pPr>
              <a:defRPr sz="700">
                <a:solidFill>
                  <a:schemeClr val="bg1"/>
                </a:solidFill>
              </a:defRPr>
            </a:lvl3pPr>
            <a:lvl4pPr>
              <a:defRPr sz="7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6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7349128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/>
        </p:nvSpPr>
        <p:spPr bwMode="gray">
          <a:xfrm>
            <a:off x="16935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016920026508590 columns_1_132016920026508590 </a:t>
            </a:r>
            <a:endParaRPr lang="en-GB" sz="133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32F4D0-9DA8-48D5-B206-F144366177CE}"/>
              </a:ext>
            </a:extLst>
          </p:cNvPr>
          <p:cNvSpPr txBox="1"/>
          <p:nvPr userDrawn="1"/>
        </p:nvSpPr>
        <p:spPr bwMode="gray">
          <a:xfrm>
            <a:off x="7915071" y="2"/>
            <a:ext cx="3941967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>
                <a:solidFill>
                  <a:srgbClr val="FF0000"/>
                </a:solidFill>
              </a:rPr>
              <a:t>CONFIDENTIAL FOR INTERNAL DISTRIBUTION ONLY</a:t>
            </a:r>
          </a:p>
        </p:txBody>
      </p:sp>
    </p:spTree>
    <p:extLst>
      <p:ext uri="{BB962C8B-B14F-4D97-AF65-F5344CB8AC3E}">
        <p14:creationId xmlns:p14="http://schemas.microsoft.com/office/powerpoint/2010/main" val="24248135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3688">
          <p15:clr>
            <a:srgbClr val="CCCCCC"/>
          </p15:clr>
        </p15:guide>
        <p15:guide id="3" pos="3992">
          <p15:clr>
            <a:srgbClr val="CCCCCC"/>
          </p15:clr>
        </p15:guide>
        <p15:guide id="4" pos="7472">
          <p15:clr>
            <a:srgbClr val="CCCCCC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 userDrawn="1"/>
        </p:nvSpPr>
        <p:spPr bwMode="gray">
          <a:xfrm>
            <a:off x="16935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016875317077236 columns_1_132016875317077236 </a:t>
            </a:r>
            <a:endParaRPr lang="en-GB" sz="133" err="1">
              <a:solidFill>
                <a:srgbClr val="FFFFFF">
                  <a:alpha val="0"/>
                </a:srgbClr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3629027" y="2909035"/>
            <a:ext cx="4933951" cy="1039932"/>
            <a:chOff x="2910342" y="325575"/>
            <a:chExt cx="5928968" cy="1249653"/>
          </a:xfrm>
        </p:grpSpPr>
        <p:sp>
          <p:nvSpPr>
            <p:cNvPr id="3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3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3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3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3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</p:grpSp>
    </p:spTree>
    <p:extLst>
      <p:ext uri="{BB962C8B-B14F-4D97-AF65-F5344CB8AC3E}">
        <p14:creationId xmlns:p14="http://schemas.microsoft.com/office/powerpoint/2010/main" val="12633361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4" y="2528888"/>
            <a:ext cx="7239691" cy="3488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67" baseline="0">
                <a:solidFill>
                  <a:schemeClr val="bg1"/>
                </a:solidFill>
                <a:latin typeface="+mn-lt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67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4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67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6080557" y="3530264"/>
            <a:ext cx="6111443" cy="3327739"/>
          </a:xfrm>
          <a:custGeom>
            <a:avLst/>
            <a:gdLst>
              <a:gd name="connsiteX0" fmla="*/ 3303371 w 6111442"/>
              <a:gd name="connsiteY0" fmla="*/ 0 h 3327739"/>
              <a:gd name="connsiteX1" fmla="*/ 6111442 w 6111442"/>
              <a:gd name="connsiteY1" fmla="*/ 2828785 h 3327739"/>
              <a:gd name="connsiteX2" fmla="*/ 6111442 w 6111442"/>
              <a:gd name="connsiteY2" fmla="*/ 3327739 h 3327739"/>
              <a:gd name="connsiteX3" fmla="*/ 0 w 6111442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442" h="3327739">
                <a:moveTo>
                  <a:pt x="3303371" y="0"/>
                </a:moveTo>
                <a:lnTo>
                  <a:pt x="6111442" y="2828785"/>
                </a:lnTo>
                <a:lnTo>
                  <a:pt x="6111442" y="3327739"/>
                </a:lnTo>
                <a:lnTo>
                  <a:pt x="0" y="3327739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5"/>
          </p:nvPr>
        </p:nvSpPr>
        <p:spPr>
          <a:xfrm>
            <a:off x="9479075" y="2452281"/>
            <a:ext cx="1947600" cy="3668316"/>
          </a:xfrm>
          <a:prstGeom prst="diamond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6"/>
          </p:nvPr>
        </p:nvSpPr>
        <p:spPr>
          <a:xfrm>
            <a:off x="8234593" y="4"/>
            <a:ext cx="3957409" cy="3335677"/>
          </a:xfrm>
          <a:custGeom>
            <a:avLst/>
            <a:gdLst>
              <a:gd name="connsiteX0" fmla="*/ 0 w 3957409"/>
              <a:gd name="connsiteY0" fmla="*/ 0 h 3335677"/>
              <a:gd name="connsiteX1" fmla="*/ 3957409 w 3957409"/>
              <a:gd name="connsiteY1" fmla="*/ 0 h 3335677"/>
              <a:gd name="connsiteX2" fmla="*/ 3957409 w 3957409"/>
              <a:gd name="connsiteY2" fmla="*/ 2677703 h 3335677"/>
              <a:gd name="connsiteX3" fmla="*/ 3305406 w 3957409"/>
              <a:gd name="connsiteY3" fmla="*/ 3335677 h 3335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409" h="3335677">
                <a:moveTo>
                  <a:pt x="0" y="0"/>
                </a:moveTo>
                <a:lnTo>
                  <a:pt x="3957409" y="0"/>
                </a:lnTo>
                <a:lnTo>
                  <a:pt x="3957409" y="2677703"/>
                </a:lnTo>
                <a:lnTo>
                  <a:pt x="3305406" y="3335677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493176" y="6597884"/>
            <a:ext cx="3799424" cy="82073"/>
          </a:xfrm>
        </p:spPr>
        <p:txBody>
          <a:bodyPr/>
          <a:lstStyle>
            <a:lvl1pPr marL="0" indent="0">
              <a:buNone/>
              <a:defRPr sz="533">
                <a:solidFill>
                  <a:schemeClr val="bg1"/>
                </a:solidFill>
              </a:defRPr>
            </a:lvl1pPr>
            <a:lvl2pPr>
              <a:defRPr sz="667">
                <a:solidFill>
                  <a:schemeClr val="bg1"/>
                </a:solidFill>
              </a:defRPr>
            </a:lvl2pPr>
            <a:lvl3pPr>
              <a:defRPr sz="667">
                <a:solidFill>
                  <a:schemeClr val="bg1"/>
                </a:solidFill>
              </a:defRPr>
            </a:lvl3pPr>
            <a:lvl4pPr>
              <a:defRPr sz="667">
                <a:solidFill>
                  <a:schemeClr val="bg1"/>
                </a:solidFill>
              </a:defRPr>
            </a:lvl4pPr>
            <a:lvl5pPr>
              <a:defRPr sz="6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7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</p:grpSp>
    </p:spTree>
    <p:extLst>
      <p:ext uri="{BB962C8B-B14F-4D97-AF65-F5344CB8AC3E}">
        <p14:creationId xmlns:p14="http://schemas.microsoft.com/office/powerpoint/2010/main" val="20760564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1">
          <p15:clr>
            <a:srgbClr val="CCCCCC"/>
          </p15:clr>
        </p15:guide>
        <p15:guide id="2" pos="7333">
          <p15:clr>
            <a:srgbClr val="CCCCC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E2C952-B034-44EF-A8FC-0BF578F15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30B09B-389E-4C93-8586-9A7CDDB2B5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8EC809-EF93-4F0B-8687-5540E846C0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4011E-782A-475C-99A8-0A5A6B5E8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9FB975-8241-4178-B7B9-5F8F455D4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2DBDEB-7DCB-4218-8980-323189250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0548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4" y="2528888"/>
            <a:ext cx="7239691" cy="348813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67" baseline="0">
                <a:solidFill>
                  <a:schemeClr val="bg1"/>
                </a:solidFill>
                <a:latin typeface="+mn-lt"/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67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4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67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6080557" y="3530264"/>
            <a:ext cx="6111443" cy="3327739"/>
          </a:xfrm>
          <a:custGeom>
            <a:avLst/>
            <a:gdLst>
              <a:gd name="connsiteX0" fmla="*/ 3303371 w 6111442"/>
              <a:gd name="connsiteY0" fmla="*/ 0 h 3327739"/>
              <a:gd name="connsiteX1" fmla="*/ 6111442 w 6111442"/>
              <a:gd name="connsiteY1" fmla="*/ 2828785 h 3327739"/>
              <a:gd name="connsiteX2" fmla="*/ 6111442 w 6111442"/>
              <a:gd name="connsiteY2" fmla="*/ 3327739 h 3327739"/>
              <a:gd name="connsiteX3" fmla="*/ 0 w 6111442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442" h="3327739">
                <a:moveTo>
                  <a:pt x="3303371" y="0"/>
                </a:moveTo>
                <a:lnTo>
                  <a:pt x="6111442" y="2828785"/>
                </a:lnTo>
                <a:lnTo>
                  <a:pt x="6111442" y="3327739"/>
                </a:lnTo>
                <a:lnTo>
                  <a:pt x="0" y="3327739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5"/>
          </p:nvPr>
        </p:nvSpPr>
        <p:spPr>
          <a:xfrm>
            <a:off x="9479075" y="2452281"/>
            <a:ext cx="1947600" cy="3668316"/>
          </a:xfrm>
          <a:prstGeom prst="diamond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6"/>
          </p:nvPr>
        </p:nvSpPr>
        <p:spPr>
          <a:xfrm>
            <a:off x="8234593" y="4"/>
            <a:ext cx="3957409" cy="3335677"/>
          </a:xfrm>
          <a:custGeom>
            <a:avLst/>
            <a:gdLst>
              <a:gd name="connsiteX0" fmla="*/ 0 w 3957409"/>
              <a:gd name="connsiteY0" fmla="*/ 0 h 3335677"/>
              <a:gd name="connsiteX1" fmla="*/ 3957409 w 3957409"/>
              <a:gd name="connsiteY1" fmla="*/ 0 h 3335677"/>
              <a:gd name="connsiteX2" fmla="*/ 3957409 w 3957409"/>
              <a:gd name="connsiteY2" fmla="*/ 2677703 h 3335677"/>
              <a:gd name="connsiteX3" fmla="*/ 3305406 w 3957409"/>
              <a:gd name="connsiteY3" fmla="*/ 3335677 h 3335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409" h="3335677">
                <a:moveTo>
                  <a:pt x="0" y="0"/>
                </a:moveTo>
                <a:lnTo>
                  <a:pt x="3957409" y="0"/>
                </a:lnTo>
                <a:lnTo>
                  <a:pt x="3957409" y="2677703"/>
                </a:lnTo>
                <a:lnTo>
                  <a:pt x="3305406" y="333567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493176" y="6597884"/>
            <a:ext cx="3799424" cy="82073"/>
          </a:xfrm>
        </p:spPr>
        <p:txBody>
          <a:bodyPr/>
          <a:lstStyle>
            <a:lvl1pPr marL="0" indent="0">
              <a:buNone/>
              <a:defRPr sz="533">
                <a:solidFill>
                  <a:schemeClr val="bg1"/>
                </a:solidFill>
              </a:defRPr>
            </a:lvl1pPr>
            <a:lvl2pPr>
              <a:defRPr sz="667">
                <a:solidFill>
                  <a:schemeClr val="bg1"/>
                </a:solidFill>
              </a:defRPr>
            </a:lvl2pPr>
            <a:lvl3pPr>
              <a:defRPr sz="667">
                <a:solidFill>
                  <a:schemeClr val="bg1"/>
                </a:solidFill>
              </a:defRPr>
            </a:lvl3pPr>
            <a:lvl4pPr>
              <a:defRPr sz="667">
                <a:solidFill>
                  <a:schemeClr val="bg1"/>
                </a:solidFill>
              </a:defRPr>
            </a:lvl4pPr>
            <a:lvl5pPr>
              <a:defRPr sz="6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7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67"/>
            </a:p>
          </p:txBody>
        </p:sp>
      </p:grpSp>
    </p:spTree>
    <p:extLst>
      <p:ext uri="{BB962C8B-B14F-4D97-AF65-F5344CB8AC3E}">
        <p14:creationId xmlns:p14="http://schemas.microsoft.com/office/powerpoint/2010/main" val="3260902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1">
          <p15:clr>
            <a:srgbClr val="CCCCCC"/>
          </p15:clr>
        </p15:guide>
        <p15:guide id="2" pos="7333">
          <p15:clr>
            <a:srgbClr val="CCCCCC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753816-7D2D-4298-BCC6-5CB4020C19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753816-7D2D-4298-BCC6-5CB4020C19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BCFB32-80B7-437B-B441-03C3A993C6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3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2" y="622803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985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0373" y="1790225"/>
            <a:ext cx="11426776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747" y="1022695"/>
            <a:ext cx="11426776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2" marR="0" lvl="2" indent="-120642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2" marR="0" lvl="2" indent="-120642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2" marR="0" lvl="2" indent="-120642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2" marR="0" lvl="2" indent="-120642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2455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Pag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 userDrawn="1"/>
        </p:nvSpPr>
        <p:spPr bwMode="gray">
          <a:xfrm>
            <a:off x="16935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33">
                <a:solidFill>
                  <a:srgbClr val="FFFFFF">
                    <a:alpha val="0"/>
                  </a:srgbClr>
                </a:solidFill>
              </a:rPr>
              <a:t>overall_0_132016875317077236 columns_1_132016875317077236 </a:t>
            </a:r>
            <a:endParaRPr lang="en-GB" sz="133" err="1">
              <a:solidFill>
                <a:srgbClr val="FFFFFF">
                  <a:alpha val="0"/>
                </a:srgbClr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3629026" y="2909035"/>
            <a:ext cx="4933951" cy="1039932"/>
            <a:chOff x="2910342" y="325575"/>
            <a:chExt cx="5928968" cy="1249653"/>
          </a:xfrm>
        </p:grpSpPr>
        <p:sp>
          <p:nvSpPr>
            <p:cNvPr id="3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380971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3" y="2528888"/>
            <a:ext cx="7239691" cy="3385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3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6080557" y="3530263"/>
            <a:ext cx="6111443" cy="3327739"/>
          </a:xfrm>
          <a:custGeom>
            <a:avLst/>
            <a:gdLst>
              <a:gd name="connsiteX0" fmla="*/ 3303371 w 6111442"/>
              <a:gd name="connsiteY0" fmla="*/ 0 h 3327739"/>
              <a:gd name="connsiteX1" fmla="*/ 6111442 w 6111442"/>
              <a:gd name="connsiteY1" fmla="*/ 2828785 h 3327739"/>
              <a:gd name="connsiteX2" fmla="*/ 6111442 w 6111442"/>
              <a:gd name="connsiteY2" fmla="*/ 3327739 h 3327739"/>
              <a:gd name="connsiteX3" fmla="*/ 0 w 6111442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442" h="3327739">
                <a:moveTo>
                  <a:pt x="3303371" y="0"/>
                </a:moveTo>
                <a:lnTo>
                  <a:pt x="6111442" y="2828785"/>
                </a:lnTo>
                <a:lnTo>
                  <a:pt x="6111442" y="3327739"/>
                </a:lnTo>
                <a:lnTo>
                  <a:pt x="0" y="3327739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5"/>
          </p:nvPr>
        </p:nvSpPr>
        <p:spPr>
          <a:xfrm>
            <a:off x="9479075" y="2452280"/>
            <a:ext cx="1947600" cy="3668316"/>
          </a:xfrm>
          <a:prstGeom prst="diamond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6"/>
          </p:nvPr>
        </p:nvSpPr>
        <p:spPr>
          <a:xfrm>
            <a:off x="8234592" y="3"/>
            <a:ext cx="3957409" cy="3335677"/>
          </a:xfrm>
          <a:custGeom>
            <a:avLst/>
            <a:gdLst>
              <a:gd name="connsiteX0" fmla="*/ 0 w 3957409"/>
              <a:gd name="connsiteY0" fmla="*/ 0 h 3335677"/>
              <a:gd name="connsiteX1" fmla="*/ 3957409 w 3957409"/>
              <a:gd name="connsiteY1" fmla="*/ 0 h 3335677"/>
              <a:gd name="connsiteX2" fmla="*/ 3957409 w 3957409"/>
              <a:gd name="connsiteY2" fmla="*/ 2677703 h 3335677"/>
              <a:gd name="connsiteX3" fmla="*/ 3305406 w 3957409"/>
              <a:gd name="connsiteY3" fmla="*/ 3335677 h 3335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409" h="3335677">
                <a:moveTo>
                  <a:pt x="0" y="0"/>
                </a:moveTo>
                <a:lnTo>
                  <a:pt x="3957409" y="0"/>
                </a:lnTo>
                <a:lnTo>
                  <a:pt x="3957409" y="2677703"/>
                </a:lnTo>
                <a:lnTo>
                  <a:pt x="3305406" y="3335677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493176" y="6597883"/>
            <a:ext cx="3799424" cy="76944"/>
          </a:xfrm>
        </p:spPr>
        <p:txBody>
          <a:bodyPr/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  <a:lvl2pPr>
              <a:defRPr sz="700">
                <a:solidFill>
                  <a:schemeClr val="bg1"/>
                </a:solidFill>
              </a:defRPr>
            </a:lvl2pPr>
            <a:lvl3pPr>
              <a:defRPr sz="700">
                <a:solidFill>
                  <a:schemeClr val="bg1"/>
                </a:solidFill>
              </a:defRPr>
            </a:lvl3pPr>
            <a:lvl4pPr>
              <a:defRPr sz="7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6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42406692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1">
          <p15:clr>
            <a:srgbClr val="CCCCCC"/>
          </p15:clr>
        </p15:guide>
        <p15:guide id="2" pos="7333">
          <p15:clr>
            <a:srgbClr val="CCCCCC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3" y="2528888"/>
            <a:ext cx="7239691" cy="33855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3" y="1376363"/>
            <a:ext cx="7239691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6080557" y="3530263"/>
            <a:ext cx="6111443" cy="3327739"/>
          </a:xfrm>
          <a:custGeom>
            <a:avLst/>
            <a:gdLst>
              <a:gd name="connsiteX0" fmla="*/ 3303371 w 6111442"/>
              <a:gd name="connsiteY0" fmla="*/ 0 h 3327739"/>
              <a:gd name="connsiteX1" fmla="*/ 6111442 w 6111442"/>
              <a:gd name="connsiteY1" fmla="*/ 2828785 h 3327739"/>
              <a:gd name="connsiteX2" fmla="*/ 6111442 w 6111442"/>
              <a:gd name="connsiteY2" fmla="*/ 3327739 h 3327739"/>
              <a:gd name="connsiteX3" fmla="*/ 0 w 6111442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1442" h="3327739">
                <a:moveTo>
                  <a:pt x="3303371" y="0"/>
                </a:moveTo>
                <a:lnTo>
                  <a:pt x="6111442" y="2828785"/>
                </a:lnTo>
                <a:lnTo>
                  <a:pt x="6111442" y="3327739"/>
                </a:lnTo>
                <a:lnTo>
                  <a:pt x="0" y="3327739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5"/>
          </p:nvPr>
        </p:nvSpPr>
        <p:spPr>
          <a:xfrm>
            <a:off x="9479075" y="2452280"/>
            <a:ext cx="1947600" cy="3668316"/>
          </a:xfrm>
          <a:prstGeom prst="diamond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6"/>
          </p:nvPr>
        </p:nvSpPr>
        <p:spPr>
          <a:xfrm>
            <a:off x="8234592" y="3"/>
            <a:ext cx="3957409" cy="3335677"/>
          </a:xfrm>
          <a:custGeom>
            <a:avLst/>
            <a:gdLst>
              <a:gd name="connsiteX0" fmla="*/ 0 w 3957409"/>
              <a:gd name="connsiteY0" fmla="*/ 0 h 3335677"/>
              <a:gd name="connsiteX1" fmla="*/ 3957409 w 3957409"/>
              <a:gd name="connsiteY1" fmla="*/ 0 h 3335677"/>
              <a:gd name="connsiteX2" fmla="*/ 3957409 w 3957409"/>
              <a:gd name="connsiteY2" fmla="*/ 2677703 h 3335677"/>
              <a:gd name="connsiteX3" fmla="*/ 3305406 w 3957409"/>
              <a:gd name="connsiteY3" fmla="*/ 3335677 h 3335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7409" h="3335677">
                <a:moveTo>
                  <a:pt x="0" y="0"/>
                </a:moveTo>
                <a:lnTo>
                  <a:pt x="3957409" y="0"/>
                </a:lnTo>
                <a:lnTo>
                  <a:pt x="3957409" y="2677703"/>
                </a:lnTo>
                <a:lnTo>
                  <a:pt x="3305406" y="333567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7" hasCustomPrompt="1"/>
          </p:nvPr>
        </p:nvSpPr>
        <p:spPr>
          <a:xfrm>
            <a:off x="493176" y="6597883"/>
            <a:ext cx="3799424" cy="76944"/>
          </a:xfrm>
        </p:spPr>
        <p:txBody>
          <a:bodyPr/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  <a:lvl2pPr>
              <a:defRPr sz="700">
                <a:solidFill>
                  <a:schemeClr val="bg1"/>
                </a:solidFill>
              </a:defRPr>
            </a:lvl2pPr>
            <a:lvl3pPr>
              <a:defRPr sz="700">
                <a:solidFill>
                  <a:schemeClr val="bg1"/>
                </a:solidFill>
              </a:defRPr>
            </a:lvl3pPr>
            <a:lvl4pPr>
              <a:defRPr sz="7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is information is confidential; it is not to be relied on by any 3rd party without prior written consent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426571" y="6133626"/>
            <a:ext cx="1905000" cy="401519"/>
            <a:chOff x="2910342" y="325575"/>
            <a:chExt cx="5928968" cy="1249653"/>
          </a:xfrm>
        </p:grpSpPr>
        <p:sp>
          <p:nvSpPr>
            <p:cNvPr id="3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51856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11">
          <p15:clr>
            <a:srgbClr val="CCCCCC"/>
          </p15:clr>
        </p15:guide>
        <p15:guide id="2" pos="7333">
          <p15:clr>
            <a:srgbClr val="CCCCCC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753816-7D2D-4298-BCC6-5CB4020C19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753816-7D2D-4298-BCC6-5CB4020C19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BCFB32-80B7-437B-B441-03C3A993C6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2925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0373" y="1790224"/>
            <a:ext cx="11426776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747" y="1022695"/>
            <a:ext cx="11426776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956456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959223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lang="fr-FR">
                <a:solidFill>
                  <a:srgbClr val="00148C"/>
                </a:solidFill>
              </a:rPr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963" lvl="2">
                <a:defRPr/>
              </a:pPr>
              <a:endParaRPr lang="en-GB" sz="80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>
                <a:defRPr/>
              </a:pPr>
              <a:r>
                <a:rPr lang="en-GB" sz="800" b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lvl="2" indent="-120648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spcAft>
                    <a:spcPts val="364"/>
                  </a:spcAft>
                  <a:defRPr/>
                </a:pPr>
                <a:endParaRPr lang="en-GB" sz="80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4645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1.xml"/><Relationship Id="rId30" Type="http://schemas.openxmlformats.org/officeDocument/2006/relationships/image" Target="../media/image15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vmlDrawing" Target="../drawings/vmlDrawing4.v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image" Target="../media/image15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oleObject" Target="../embeddings/oleObject4.bin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tags" Target="../tags/tag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0ECDD5-1BA6-4428-A3F7-0296B4F30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5A7782-C066-47C4-8633-21B75D261F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90A6ED-3502-4DA1-8D0F-DB78A1A986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6B6DC5-CB8D-43AA-9B64-A0B245D9ECCF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90A7DA-0C69-4003-A4AB-272AFA93A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38D4B4-F47C-4BD4-B854-BCB93135AE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6714DC-9B08-4F48-9009-516A257632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275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87766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5559" y="6370950"/>
            <a:ext cx="7624779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430373" y="6320567"/>
            <a:ext cx="2974979" cy="353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818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5" r:id="rId14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63677F-1984-4DD2-8049-EB2D6A031D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63677F-1984-4DD2-8049-EB2D6A031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03E405-EDC4-4153-9899-F80AC88AAD9B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348596" y="654381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52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93" r:id="rId24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5637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5637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</a:t>
            </a:r>
            <a:r>
              <a:rPr lang="fr-FR" err="1"/>
              <a:t>title</a:t>
            </a:r>
            <a:r>
              <a:rPr lang="fr-FR"/>
              <a:t>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430374" y="65637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638719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  <p:sldLayoutId id="2147483754" r:id="rId23"/>
    <p:sldLayoutId id="2147483755" r:id="rId24"/>
    <p:sldLayoutId id="2147483756" r:id="rId2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63677F-1984-4DD2-8049-EB2D6A031D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63677F-1984-4DD2-8049-EB2D6A031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03E405-EDC4-4153-9899-F80AC88AAD9B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348596" y="654381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840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  <p:sldLayoutId id="2147483788" r:id="rId19"/>
    <p:sldLayoutId id="2147483789" r:id="rId20"/>
    <p:sldLayoutId id="2147483790" r:id="rId21"/>
    <p:sldLayoutId id="2147483791" r:id="rId22"/>
    <p:sldLayoutId id="2147483792" r:id="rId2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buClr>
                <a:srgbClr val="55555A"/>
              </a:buClr>
            </a:pPr>
            <a:fld id="{C765D33F-A874-457A-8BB6-233806FE7182}" type="slidenum">
              <a:rPr sz="1467">
                <a:solidFill>
                  <a:srgbClr val="00148C"/>
                </a:solidFill>
              </a:rPr>
              <a:pPr>
                <a:buClr>
                  <a:srgbClr val="55555A"/>
                </a:buClr>
              </a:pPr>
              <a:t>‹#›</a:t>
            </a:fld>
            <a:endParaRPr sz="1467">
              <a:solidFill>
                <a:srgbClr val="00148C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ts val="800"/>
              </a:spcAft>
              <a:buClr>
                <a:srgbClr val="55555A"/>
              </a:buClr>
              <a:tabLst>
                <a:tab pos="1318651" algn="l"/>
              </a:tabLst>
            </a:pPr>
            <a:r>
              <a:rPr lang="fr-FR" kern="0">
                <a:solidFill>
                  <a:srgbClr val="00148C"/>
                </a:solidFill>
              </a:rPr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buClr>
                <a:srgbClr val="55555A"/>
              </a:buClr>
              <a:tabLst>
                <a:tab pos="1318651" algn="l"/>
              </a:tabLst>
            </a:pPr>
            <a:r>
              <a:rPr sz="1467" b="1">
                <a:solidFill>
                  <a:srgbClr val="00148C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930587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1" pos="2767">
          <p15:clr>
            <a:srgbClr val="F26B43"/>
          </p15:clr>
        </p15:guide>
        <p15:guide id="2" pos="5556">
          <p15:clr>
            <a:srgbClr val="F26B43"/>
          </p15:clr>
        </p15:guide>
        <p15:guide id="3" orient="horz" pos="2845">
          <p15:clr>
            <a:srgbClr val="F26B43"/>
          </p15:clr>
        </p15:guide>
        <p15:guide id="4" pos="204">
          <p15:clr>
            <a:srgbClr val="F26B43"/>
          </p15:clr>
        </p15:guide>
        <p15:guide id="5" pos="2993">
          <p15:clr>
            <a:srgbClr val="F26B43"/>
          </p15:clr>
        </p15:guide>
        <p15:guide id="6" orient="horz" pos="350">
          <p15:clr>
            <a:srgbClr val="F26B43"/>
          </p15:clr>
        </p15:guide>
        <p15:guide id="7" orient="horz" pos="667">
          <p15:clr>
            <a:srgbClr val="F26B43"/>
          </p15:clr>
        </p15:guide>
        <p15:guide id="8" pos="2064">
          <p15:clr>
            <a:srgbClr val="F26B43"/>
          </p15:clr>
        </p15:guide>
        <p15:guide id="9" pos="3923">
          <p15:clr>
            <a:srgbClr val="F26B43"/>
          </p15:clr>
        </p15:guide>
        <p15:guide id="10" pos="3696">
          <p15:clr>
            <a:srgbClr val="F26B43"/>
          </p15:clr>
        </p15:guide>
        <p15:guide id="11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Data" Target="../diagrams/data2.xml"/><Relationship Id="rId18" Type="http://schemas.openxmlformats.org/officeDocument/2006/relationships/image" Target="../media/image27.png"/><Relationship Id="rId3" Type="http://schemas.openxmlformats.org/officeDocument/2006/relationships/tags" Target="../tags/tag14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15.emf"/><Relationship Id="rId17" Type="http://schemas.microsoft.com/office/2007/relationships/diagramDrawing" Target="../diagrams/drawing2.xml"/><Relationship Id="rId2" Type="http://schemas.openxmlformats.org/officeDocument/2006/relationships/tags" Target="../tags/tag13.xml"/><Relationship Id="rId16" Type="http://schemas.openxmlformats.org/officeDocument/2006/relationships/diagramColors" Target="../diagrams/colors2.xml"/><Relationship Id="rId1" Type="http://schemas.openxmlformats.org/officeDocument/2006/relationships/vmlDrawing" Target="../drawings/vmlDrawing7.vml"/><Relationship Id="rId6" Type="http://schemas.openxmlformats.org/officeDocument/2006/relationships/diagramData" Target="../diagrams/data1.xml"/><Relationship Id="rId11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15" Type="http://schemas.openxmlformats.org/officeDocument/2006/relationships/diagramQuickStyle" Target="../diagrams/quickStyle2.xml"/><Relationship Id="rId10" Type="http://schemas.microsoft.com/office/2007/relationships/diagramDrawing" Target="../diagrams/drawing1.xml"/><Relationship Id="rId4" Type="http://schemas.openxmlformats.org/officeDocument/2006/relationships/slideLayout" Target="../slideLayouts/slideLayout28.xml"/><Relationship Id="rId9" Type="http://schemas.openxmlformats.org/officeDocument/2006/relationships/diagramColors" Target="../diagrams/colors1.xml"/><Relationship Id="rId1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nationalgridplc-my.sharepoint.com/:p:/g/personal/andy_schoener_us_nationalgrid_com/EdgQlApR21ZCl83AxyibvkkBiSRUe2HcXyPpjGLW1Kcq1w?e=WzIq4b" TargetMode="External"/><Relationship Id="rId2" Type="http://schemas.openxmlformats.org/officeDocument/2006/relationships/hyperlink" Target="https://nationalgridplc.sharepoint.com/sites/GRP-INT-Architecture/Shared%20Documents/Business%20Domains/UK%20Domains/UK%20Region/T2%20Technology%20Strategy%20and%20Roadmap%20-%20Template.pptx?web=1" TargetMode="External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392964"/>
            <a:ext cx="6587860" cy="2726549"/>
          </a:xfrm>
        </p:spPr>
        <p:txBody>
          <a:bodyPr/>
          <a:lstStyle/>
          <a:p>
            <a:r>
              <a:rPr lang="en-US" sz="4800" dirty="0"/>
              <a:t>FY22 Deep Dive Kickoff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931417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8480A796-A051-465C-8C5A-48E63D4FCFF5}"/>
              </a:ext>
            </a:extLst>
          </p:cNvPr>
          <p:cNvSpPr txBox="1">
            <a:spLocks/>
          </p:cNvSpPr>
          <p:nvPr/>
        </p:nvSpPr>
        <p:spPr bwMode="auto">
          <a:xfrm>
            <a:off x="378229" y="306151"/>
            <a:ext cx="11451544" cy="465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Healthy Tension between Business Unit Roadmap and Enterprise Target St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F74A0F-8A69-42C7-8FBB-AD5827C0A43D}"/>
              </a:ext>
            </a:extLst>
          </p:cNvPr>
          <p:cNvSpPr txBox="1"/>
          <p:nvPr/>
        </p:nvSpPr>
        <p:spPr>
          <a:xfrm>
            <a:off x="167618" y="899383"/>
            <a:ext cx="11361773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marR="0" lvl="0" indent="-228594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There will be a natural point of “healthy tension” between the CIO / Business Unit’s near term roadmap and the Enterprise Target State</a:t>
            </a:r>
          </a:p>
          <a:p>
            <a:pPr marL="228594" marR="0" lvl="0" indent="-228594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How do we manage that healthy tension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B23624B-E31D-4E49-ADA3-2210730A46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481" y="2535088"/>
            <a:ext cx="2356179" cy="51442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3FCC3AA-83B3-4C43-B3B5-BBB54299DE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3941" y="3645755"/>
            <a:ext cx="2178355" cy="64144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0675B86-8DE8-4FA5-9F86-62AD78864E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6184" y="4846497"/>
            <a:ext cx="1886213" cy="46361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B8538D8-84FE-46CC-8368-681D3048293A}"/>
              </a:ext>
            </a:extLst>
          </p:cNvPr>
          <p:cNvSpPr txBox="1"/>
          <p:nvPr/>
        </p:nvSpPr>
        <p:spPr>
          <a:xfrm>
            <a:off x="1735070" y="2237735"/>
            <a:ext cx="1765227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CIO Roadmap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C848449-2FE4-4A42-AB09-89623C7B8486}"/>
              </a:ext>
            </a:extLst>
          </p:cNvPr>
          <p:cNvGrpSpPr/>
          <p:nvPr/>
        </p:nvGrpSpPr>
        <p:grpSpPr>
          <a:xfrm>
            <a:off x="7592948" y="4846497"/>
            <a:ext cx="3274493" cy="381351"/>
            <a:chOff x="5046366" y="3464020"/>
            <a:chExt cx="2455870" cy="286013"/>
          </a:xfrm>
        </p:grpSpPr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D02032E7-85D7-43B3-93B8-2A5EB75D6191}"/>
                </a:ext>
              </a:extLst>
            </p:cNvPr>
            <p:cNvSpPr/>
            <p:nvPr/>
          </p:nvSpPr>
          <p:spPr>
            <a:xfrm>
              <a:off x="5046366" y="3464020"/>
              <a:ext cx="2455870" cy="286013"/>
            </a:xfrm>
            <a:prstGeom prst="homePlat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F478385-9647-4F52-91B8-B1F1513B3D5F}"/>
                </a:ext>
              </a:extLst>
            </p:cNvPr>
            <p:cNvSpPr/>
            <p:nvPr/>
          </p:nvSpPr>
          <p:spPr>
            <a:xfrm>
              <a:off x="515569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948724-39B0-4219-9BB1-C67200693A67}"/>
                </a:ext>
              </a:extLst>
            </p:cNvPr>
            <p:cNvSpPr/>
            <p:nvPr/>
          </p:nvSpPr>
          <p:spPr>
            <a:xfrm>
              <a:off x="5705962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67E0D8C-AAB3-4D7B-B360-6FCC3329994D}"/>
                </a:ext>
              </a:extLst>
            </p:cNvPr>
            <p:cNvSpPr/>
            <p:nvPr/>
          </p:nvSpPr>
          <p:spPr>
            <a:xfrm>
              <a:off x="625622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64D48BB-FEDA-43F4-99D5-CFB9489E2A3F}"/>
                </a:ext>
              </a:extLst>
            </p:cNvPr>
            <p:cNvSpPr/>
            <p:nvPr/>
          </p:nvSpPr>
          <p:spPr>
            <a:xfrm>
              <a:off x="6806492" y="3495566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272DB887-5D0E-4E10-B1DA-0EAE70A890E4}"/>
                </a:ext>
              </a:extLst>
            </p:cNvPr>
            <p:cNvCxnSpPr>
              <a:stCxn id="20" idx="3"/>
              <a:endCxn id="21" idx="1"/>
            </p:cNvCxnSpPr>
            <p:nvPr/>
          </p:nvCxnSpPr>
          <p:spPr>
            <a:xfrm>
              <a:off x="5596631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FA126206-6DDE-4E29-A6D9-594B6E5B327A}"/>
                </a:ext>
              </a:extLst>
            </p:cNvPr>
            <p:cNvCxnSpPr>
              <a:stCxn id="21" idx="3"/>
              <a:endCxn id="22" idx="1"/>
            </p:cNvCxnSpPr>
            <p:nvPr/>
          </p:nvCxnSpPr>
          <p:spPr>
            <a:xfrm>
              <a:off x="6146896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AB8E0173-FAB1-49E0-B014-CD67D9660887}"/>
                </a:ext>
              </a:extLst>
            </p:cNvPr>
            <p:cNvCxnSpPr>
              <a:stCxn id="22" idx="3"/>
              <a:endCxn id="23" idx="1"/>
            </p:cNvCxnSpPr>
            <p:nvPr/>
          </p:nvCxnSpPr>
          <p:spPr>
            <a:xfrm flipV="1">
              <a:off x="6697161" y="3607025"/>
              <a:ext cx="109331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08F6924-B5F9-42B1-9ABE-6ADD39A8C7C2}"/>
              </a:ext>
            </a:extLst>
          </p:cNvPr>
          <p:cNvGrpSpPr/>
          <p:nvPr/>
        </p:nvGrpSpPr>
        <p:grpSpPr>
          <a:xfrm>
            <a:off x="7592948" y="4373099"/>
            <a:ext cx="3274493" cy="381351"/>
            <a:chOff x="5046366" y="3464020"/>
            <a:chExt cx="2455870" cy="286013"/>
          </a:xfrm>
        </p:grpSpPr>
        <p:sp>
          <p:nvSpPr>
            <p:cNvPr id="28" name="Arrow: Pentagon 27">
              <a:extLst>
                <a:ext uri="{FF2B5EF4-FFF2-40B4-BE49-F238E27FC236}">
                  <a16:creationId xmlns:a16="http://schemas.microsoft.com/office/drawing/2014/main" id="{0CF0F9DE-263E-4FC4-948E-251F387150C9}"/>
                </a:ext>
              </a:extLst>
            </p:cNvPr>
            <p:cNvSpPr/>
            <p:nvPr/>
          </p:nvSpPr>
          <p:spPr>
            <a:xfrm>
              <a:off x="5046366" y="3464020"/>
              <a:ext cx="2455870" cy="286013"/>
            </a:xfrm>
            <a:prstGeom prst="homePlat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4D818-992D-4710-8685-08C3964C1818}"/>
                </a:ext>
              </a:extLst>
            </p:cNvPr>
            <p:cNvSpPr/>
            <p:nvPr/>
          </p:nvSpPr>
          <p:spPr>
            <a:xfrm>
              <a:off x="515569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BB3F862-9827-4AB8-B773-F651B3C50F5D}"/>
                </a:ext>
              </a:extLst>
            </p:cNvPr>
            <p:cNvSpPr/>
            <p:nvPr/>
          </p:nvSpPr>
          <p:spPr>
            <a:xfrm>
              <a:off x="5705962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8CA4628-E083-471A-9037-78ABD20766FD}"/>
                </a:ext>
              </a:extLst>
            </p:cNvPr>
            <p:cNvSpPr/>
            <p:nvPr/>
          </p:nvSpPr>
          <p:spPr>
            <a:xfrm>
              <a:off x="625622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C8A0B13-30D8-4108-8EAC-9F4314F4F6E2}"/>
                </a:ext>
              </a:extLst>
            </p:cNvPr>
            <p:cNvSpPr/>
            <p:nvPr/>
          </p:nvSpPr>
          <p:spPr>
            <a:xfrm>
              <a:off x="6806492" y="3495566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A7CFC882-994D-4AAA-917E-69BA21387A4D}"/>
                </a:ext>
              </a:extLst>
            </p:cNvPr>
            <p:cNvCxnSpPr>
              <a:stCxn id="29" idx="3"/>
              <a:endCxn id="30" idx="1"/>
            </p:cNvCxnSpPr>
            <p:nvPr/>
          </p:nvCxnSpPr>
          <p:spPr>
            <a:xfrm>
              <a:off x="5596631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A0B9439C-617E-4DAF-8B61-B43A88DAFC89}"/>
                </a:ext>
              </a:extLst>
            </p:cNvPr>
            <p:cNvCxnSpPr>
              <a:stCxn id="30" idx="3"/>
              <a:endCxn id="31" idx="1"/>
            </p:cNvCxnSpPr>
            <p:nvPr/>
          </p:nvCxnSpPr>
          <p:spPr>
            <a:xfrm>
              <a:off x="6146896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028DF7E0-7F05-43D6-A652-342B2E92CB0F}"/>
                </a:ext>
              </a:extLst>
            </p:cNvPr>
            <p:cNvCxnSpPr>
              <a:stCxn id="31" idx="3"/>
              <a:endCxn id="32" idx="1"/>
            </p:cNvCxnSpPr>
            <p:nvPr/>
          </p:nvCxnSpPr>
          <p:spPr>
            <a:xfrm flipV="1">
              <a:off x="6697161" y="3607025"/>
              <a:ext cx="109331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831D0A1-B42C-410A-95AD-864CA17736F0}"/>
              </a:ext>
            </a:extLst>
          </p:cNvPr>
          <p:cNvGrpSpPr/>
          <p:nvPr/>
        </p:nvGrpSpPr>
        <p:grpSpPr>
          <a:xfrm>
            <a:off x="7592948" y="3899700"/>
            <a:ext cx="3274493" cy="381351"/>
            <a:chOff x="5046366" y="3464020"/>
            <a:chExt cx="2455870" cy="286013"/>
          </a:xfrm>
        </p:grpSpPr>
        <p:sp>
          <p:nvSpPr>
            <p:cNvPr id="37" name="Arrow: Pentagon 36">
              <a:extLst>
                <a:ext uri="{FF2B5EF4-FFF2-40B4-BE49-F238E27FC236}">
                  <a16:creationId xmlns:a16="http://schemas.microsoft.com/office/drawing/2014/main" id="{30C05CD5-F699-419F-85E6-F03D97A13CAB}"/>
                </a:ext>
              </a:extLst>
            </p:cNvPr>
            <p:cNvSpPr/>
            <p:nvPr/>
          </p:nvSpPr>
          <p:spPr>
            <a:xfrm>
              <a:off x="5046366" y="3464020"/>
              <a:ext cx="2455870" cy="286013"/>
            </a:xfrm>
            <a:prstGeom prst="homePlat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6042303-40DD-4FAB-9EA3-E491EB305468}"/>
                </a:ext>
              </a:extLst>
            </p:cNvPr>
            <p:cNvSpPr/>
            <p:nvPr/>
          </p:nvSpPr>
          <p:spPr>
            <a:xfrm>
              <a:off x="515569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31AB0D7-7B96-4D72-934F-0E1E31D9E71F}"/>
                </a:ext>
              </a:extLst>
            </p:cNvPr>
            <p:cNvSpPr/>
            <p:nvPr/>
          </p:nvSpPr>
          <p:spPr>
            <a:xfrm>
              <a:off x="5705962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0784523-E960-471D-9281-670CA55AF853}"/>
                </a:ext>
              </a:extLst>
            </p:cNvPr>
            <p:cNvSpPr/>
            <p:nvPr/>
          </p:nvSpPr>
          <p:spPr>
            <a:xfrm>
              <a:off x="625622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1E4FFB1-4A7E-45CB-8F77-10764B957826}"/>
                </a:ext>
              </a:extLst>
            </p:cNvPr>
            <p:cNvSpPr/>
            <p:nvPr/>
          </p:nvSpPr>
          <p:spPr>
            <a:xfrm>
              <a:off x="6806492" y="3495566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0FE39A49-9626-4DB2-987C-38E95DBD5E01}"/>
                </a:ext>
              </a:extLst>
            </p:cNvPr>
            <p:cNvCxnSpPr>
              <a:stCxn id="38" idx="3"/>
              <a:endCxn id="39" idx="1"/>
            </p:cNvCxnSpPr>
            <p:nvPr/>
          </p:nvCxnSpPr>
          <p:spPr>
            <a:xfrm>
              <a:off x="5596631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B93781D7-045D-4E0E-9134-8D4F91DA6F2A}"/>
                </a:ext>
              </a:extLst>
            </p:cNvPr>
            <p:cNvCxnSpPr>
              <a:stCxn id="39" idx="3"/>
              <a:endCxn id="40" idx="1"/>
            </p:cNvCxnSpPr>
            <p:nvPr/>
          </p:nvCxnSpPr>
          <p:spPr>
            <a:xfrm>
              <a:off x="6146896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5695AE31-4D0B-45AB-AE2C-A91B76F6448D}"/>
                </a:ext>
              </a:extLst>
            </p:cNvPr>
            <p:cNvCxnSpPr>
              <a:stCxn id="40" idx="3"/>
              <a:endCxn id="41" idx="1"/>
            </p:cNvCxnSpPr>
            <p:nvPr/>
          </p:nvCxnSpPr>
          <p:spPr>
            <a:xfrm flipV="1">
              <a:off x="6697161" y="3607025"/>
              <a:ext cx="109331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CD273DF-512D-4BB0-9073-2C585DE132B6}"/>
              </a:ext>
            </a:extLst>
          </p:cNvPr>
          <p:cNvGrpSpPr/>
          <p:nvPr/>
        </p:nvGrpSpPr>
        <p:grpSpPr>
          <a:xfrm>
            <a:off x="7592948" y="3426301"/>
            <a:ext cx="3274493" cy="381351"/>
            <a:chOff x="5046366" y="3464020"/>
            <a:chExt cx="2455870" cy="286013"/>
          </a:xfrm>
        </p:grpSpPr>
        <p:sp>
          <p:nvSpPr>
            <p:cNvPr id="46" name="Arrow: Pentagon 45">
              <a:extLst>
                <a:ext uri="{FF2B5EF4-FFF2-40B4-BE49-F238E27FC236}">
                  <a16:creationId xmlns:a16="http://schemas.microsoft.com/office/drawing/2014/main" id="{64A1292F-D59B-4104-8775-EFA55C2188E5}"/>
                </a:ext>
              </a:extLst>
            </p:cNvPr>
            <p:cNvSpPr/>
            <p:nvPr/>
          </p:nvSpPr>
          <p:spPr>
            <a:xfrm>
              <a:off x="5046366" y="3464020"/>
              <a:ext cx="2455870" cy="286013"/>
            </a:xfrm>
            <a:prstGeom prst="homePlat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4922F10-1CDF-423F-8761-C39960DE26DB}"/>
                </a:ext>
              </a:extLst>
            </p:cNvPr>
            <p:cNvSpPr/>
            <p:nvPr/>
          </p:nvSpPr>
          <p:spPr>
            <a:xfrm>
              <a:off x="515569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403EB19-26CA-4651-AC08-610886856FE0}"/>
                </a:ext>
              </a:extLst>
            </p:cNvPr>
            <p:cNvSpPr/>
            <p:nvPr/>
          </p:nvSpPr>
          <p:spPr>
            <a:xfrm>
              <a:off x="5705962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6E0D3CD-4201-4C77-8078-1853535F1C3F}"/>
                </a:ext>
              </a:extLst>
            </p:cNvPr>
            <p:cNvSpPr/>
            <p:nvPr/>
          </p:nvSpPr>
          <p:spPr>
            <a:xfrm>
              <a:off x="625622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1F90CE4-E5CA-47E0-8A2D-2EAC4298DC9C}"/>
                </a:ext>
              </a:extLst>
            </p:cNvPr>
            <p:cNvSpPr/>
            <p:nvPr/>
          </p:nvSpPr>
          <p:spPr>
            <a:xfrm>
              <a:off x="6806492" y="3495566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E4D92929-DFAF-41F5-AB95-20DA8EDF70FD}"/>
                </a:ext>
              </a:extLst>
            </p:cNvPr>
            <p:cNvCxnSpPr>
              <a:stCxn id="47" idx="3"/>
              <a:endCxn id="48" idx="1"/>
            </p:cNvCxnSpPr>
            <p:nvPr/>
          </p:nvCxnSpPr>
          <p:spPr>
            <a:xfrm>
              <a:off x="5596631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27D9AD59-8F68-410E-A9E2-E21479266BC4}"/>
                </a:ext>
              </a:extLst>
            </p:cNvPr>
            <p:cNvCxnSpPr>
              <a:stCxn id="48" idx="3"/>
              <a:endCxn id="49" idx="1"/>
            </p:cNvCxnSpPr>
            <p:nvPr/>
          </p:nvCxnSpPr>
          <p:spPr>
            <a:xfrm>
              <a:off x="6146896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11D9EDCD-D6E6-4FD4-93B3-DAFD238985FE}"/>
                </a:ext>
              </a:extLst>
            </p:cNvPr>
            <p:cNvCxnSpPr>
              <a:stCxn id="49" idx="3"/>
              <a:endCxn id="50" idx="1"/>
            </p:cNvCxnSpPr>
            <p:nvPr/>
          </p:nvCxnSpPr>
          <p:spPr>
            <a:xfrm flipV="1">
              <a:off x="6697161" y="3607025"/>
              <a:ext cx="109331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3C76338-7FEE-404F-9B6C-029CAA730BFA}"/>
              </a:ext>
            </a:extLst>
          </p:cNvPr>
          <p:cNvGrpSpPr/>
          <p:nvPr/>
        </p:nvGrpSpPr>
        <p:grpSpPr>
          <a:xfrm>
            <a:off x="7592948" y="2952903"/>
            <a:ext cx="3274493" cy="381351"/>
            <a:chOff x="5046366" y="3464020"/>
            <a:chExt cx="2455870" cy="286013"/>
          </a:xfrm>
        </p:grpSpPr>
        <p:sp>
          <p:nvSpPr>
            <p:cNvPr id="55" name="Arrow: Pentagon 54">
              <a:extLst>
                <a:ext uri="{FF2B5EF4-FFF2-40B4-BE49-F238E27FC236}">
                  <a16:creationId xmlns:a16="http://schemas.microsoft.com/office/drawing/2014/main" id="{032DE685-4FDA-439C-9447-5F504A05DB5E}"/>
                </a:ext>
              </a:extLst>
            </p:cNvPr>
            <p:cNvSpPr/>
            <p:nvPr/>
          </p:nvSpPr>
          <p:spPr>
            <a:xfrm>
              <a:off x="5046366" y="3464020"/>
              <a:ext cx="2455870" cy="286013"/>
            </a:xfrm>
            <a:prstGeom prst="homePlat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DAD16B50-2C53-4C0C-8931-FA349DDDF6B8}"/>
                </a:ext>
              </a:extLst>
            </p:cNvPr>
            <p:cNvSpPr/>
            <p:nvPr/>
          </p:nvSpPr>
          <p:spPr>
            <a:xfrm>
              <a:off x="515569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40156D5-C1F7-4035-9B37-0475DFDEAD46}"/>
                </a:ext>
              </a:extLst>
            </p:cNvPr>
            <p:cNvSpPr/>
            <p:nvPr/>
          </p:nvSpPr>
          <p:spPr>
            <a:xfrm>
              <a:off x="5705962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EC51FF65-409D-4500-B0E1-1E680676E7EB}"/>
                </a:ext>
              </a:extLst>
            </p:cNvPr>
            <p:cNvSpPr/>
            <p:nvPr/>
          </p:nvSpPr>
          <p:spPr>
            <a:xfrm>
              <a:off x="625622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EDA7BE9-68EF-431F-A935-940B6EF9728F}"/>
                </a:ext>
              </a:extLst>
            </p:cNvPr>
            <p:cNvSpPr/>
            <p:nvPr/>
          </p:nvSpPr>
          <p:spPr>
            <a:xfrm>
              <a:off x="6806492" y="3495566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803F8917-3208-4D9C-92E9-93BB4AF7D6EA}"/>
                </a:ext>
              </a:extLst>
            </p:cNvPr>
            <p:cNvCxnSpPr>
              <a:stCxn id="56" idx="3"/>
              <a:endCxn id="57" idx="1"/>
            </p:cNvCxnSpPr>
            <p:nvPr/>
          </p:nvCxnSpPr>
          <p:spPr>
            <a:xfrm>
              <a:off x="5596631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DD644083-4D99-45F4-8DC3-3A3E333A3C2A}"/>
                </a:ext>
              </a:extLst>
            </p:cNvPr>
            <p:cNvCxnSpPr>
              <a:stCxn id="57" idx="3"/>
              <a:endCxn id="58" idx="1"/>
            </p:cNvCxnSpPr>
            <p:nvPr/>
          </p:nvCxnSpPr>
          <p:spPr>
            <a:xfrm>
              <a:off x="6146896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454414BD-CF12-43B7-9328-A5B68AB6FBA3}"/>
                </a:ext>
              </a:extLst>
            </p:cNvPr>
            <p:cNvCxnSpPr>
              <a:stCxn id="58" idx="3"/>
              <a:endCxn id="59" idx="1"/>
            </p:cNvCxnSpPr>
            <p:nvPr/>
          </p:nvCxnSpPr>
          <p:spPr>
            <a:xfrm flipV="1">
              <a:off x="6697161" y="3607025"/>
              <a:ext cx="109331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7E6075E-9B10-42B9-9CAC-08665E63038C}"/>
              </a:ext>
            </a:extLst>
          </p:cNvPr>
          <p:cNvGrpSpPr/>
          <p:nvPr/>
        </p:nvGrpSpPr>
        <p:grpSpPr>
          <a:xfrm>
            <a:off x="7592948" y="2479504"/>
            <a:ext cx="3274493" cy="381351"/>
            <a:chOff x="5046366" y="3464020"/>
            <a:chExt cx="2455870" cy="286013"/>
          </a:xfrm>
        </p:grpSpPr>
        <p:sp>
          <p:nvSpPr>
            <p:cNvPr id="64" name="Arrow: Pentagon 63">
              <a:extLst>
                <a:ext uri="{FF2B5EF4-FFF2-40B4-BE49-F238E27FC236}">
                  <a16:creationId xmlns:a16="http://schemas.microsoft.com/office/drawing/2014/main" id="{9A837645-0214-4693-BC23-DAA032EA8AA9}"/>
                </a:ext>
              </a:extLst>
            </p:cNvPr>
            <p:cNvSpPr/>
            <p:nvPr/>
          </p:nvSpPr>
          <p:spPr>
            <a:xfrm>
              <a:off x="5046366" y="3464020"/>
              <a:ext cx="2455870" cy="286013"/>
            </a:xfrm>
            <a:prstGeom prst="homePlat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D3018AE4-D009-4D2C-A726-94FF9A575FC9}"/>
                </a:ext>
              </a:extLst>
            </p:cNvPr>
            <p:cNvSpPr/>
            <p:nvPr/>
          </p:nvSpPr>
          <p:spPr>
            <a:xfrm>
              <a:off x="515569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606D5FC-D0F5-41EF-AA95-7995AFCBF8DD}"/>
                </a:ext>
              </a:extLst>
            </p:cNvPr>
            <p:cNvSpPr/>
            <p:nvPr/>
          </p:nvSpPr>
          <p:spPr>
            <a:xfrm>
              <a:off x="5705962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E6E1C35-0012-499C-AC29-AA6F511B3F1C}"/>
                </a:ext>
              </a:extLst>
            </p:cNvPr>
            <p:cNvSpPr/>
            <p:nvPr/>
          </p:nvSpPr>
          <p:spPr>
            <a:xfrm>
              <a:off x="6256227" y="3495567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209EF8F-24DC-4D3B-A9DA-ABCC752E8510}"/>
                </a:ext>
              </a:extLst>
            </p:cNvPr>
            <p:cNvSpPr/>
            <p:nvPr/>
          </p:nvSpPr>
          <p:spPr>
            <a:xfrm>
              <a:off x="6806492" y="3495566"/>
              <a:ext cx="440934" cy="222917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endParaRPr>
            </a:p>
          </p:txBody>
        </p: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C24E86E1-F05B-4B99-BEAD-375CA82FE1CA}"/>
                </a:ext>
              </a:extLst>
            </p:cNvPr>
            <p:cNvCxnSpPr>
              <a:stCxn id="65" idx="3"/>
              <a:endCxn id="66" idx="1"/>
            </p:cNvCxnSpPr>
            <p:nvPr/>
          </p:nvCxnSpPr>
          <p:spPr>
            <a:xfrm>
              <a:off x="5596631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DA98B564-0B77-4853-B23B-AD3EAF688FF9}"/>
                </a:ext>
              </a:extLst>
            </p:cNvPr>
            <p:cNvCxnSpPr>
              <a:stCxn id="66" idx="3"/>
              <a:endCxn id="67" idx="1"/>
            </p:cNvCxnSpPr>
            <p:nvPr/>
          </p:nvCxnSpPr>
          <p:spPr>
            <a:xfrm>
              <a:off x="6146896" y="3607026"/>
              <a:ext cx="109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72625F22-C327-48F2-9641-C923223C1591}"/>
                </a:ext>
              </a:extLst>
            </p:cNvPr>
            <p:cNvCxnSpPr>
              <a:stCxn id="67" idx="3"/>
              <a:endCxn id="68" idx="1"/>
            </p:cNvCxnSpPr>
            <p:nvPr/>
          </p:nvCxnSpPr>
          <p:spPr>
            <a:xfrm flipV="1">
              <a:off x="6697161" y="3607025"/>
              <a:ext cx="109331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DC60F53A-8483-4FFA-8122-3F7D5FF666D0}"/>
              </a:ext>
            </a:extLst>
          </p:cNvPr>
          <p:cNvSpPr txBox="1"/>
          <p:nvPr/>
        </p:nvSpPr>
        <p:spPr>
          <a:xfrm>
            <a:off x="7516371" y="1545912"/>
            <a:ext cx="3241015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Enterprise Target State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Common Enterprise Processes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Built with Common Enterprise Capabilities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Leveraging Enterprise Technology Standard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3AFC30C-F376-49F8-BB2A-6440DCD73D33}"/>
              </a:ext>
            </a:extLst>
          </p:cNvPr>
          <p:cNvSpPr txBox="1"/>
          <p:nvPr/>
        </p:nvSpPr>
        <p:spPr>
          <a:xfrm>
            <a:off x="1735070" y="3330830"/>
            <a:ext cx="1765227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CIO Roadmap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C7FD897-44EF-4447-B549-CA5A5FC16281}"/>
              </a:ext>
            </a:extLst>
          </p:cNvPr>
          <p:cNvSpPr txBox="1"/>
          <p:nvPr/>
        </p:nvSpPr>
        <p:spPr>
          <a:xfrm>
            <a:off x="1735070" y="4507197"/>
            <a:ext cx="1765227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CIO Roadmap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694C70B-84D5-457D-A890-34E35E15C71A}"/>
              </a:ext>
            </a:extLst>
          </p:cNvPr>
          <p:cNvSpPr txBox="1"/>
          <p:nvPr/>
        </p:nvSpPr>
        <p:spPr>
          <a:xfrm>
            <a:off x="266104" y="5383007"/>
            <a:ext cx="4917764" cy="1323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CIOs Roadmaps will be a balance of business priorities, app rationalization, digital opportunities, etc..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48" charset="-128"/>
              <a:cs typeface="Arial" panose="020B0604020202020204" pitchFamily="34" charset="0"/>
            </a:endParaRP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We must expect these roadmaps to have varying starting points, varying economic cases, varying funding levels, varying velocities, and varying constraints.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0E098CE-CC8C-4EC4-9EBC-4A040BBE3A2E}"/>
              </a:ext>
            </a:extLst>
          </p:cNvPr>
          <p:cNvSpPr txBox="1"/>
          <p:nvPr/>
        </p:nvSpPr>
        <p:spPr>
          <a:xfrm>
            <a:off x="6833563" y="5522257"/>
            <a:ext cx="4669573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However, we also have a goal to standardize so that we can reuse processes, capabilities, and technology where doing so adds significant value across business units.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B4B02151-26C6-49D1-A8FF-9AED35550445}"/>
              </a:ext>
            </a:extLst>
          </p:cNvPr>
          <p:cNvCxnSpPr/>
          <p:nvPr/>
        </p:nvCxnSpPr>
        <p:spPr>
          <a:xfrm>
            <a:off x="4892793" y="3882115"/>
            <a:ext cx="1525885" cy="0"/>
          </a:xfrm>
          <a:prstGeom prst="straightConnector1">
            <a:avLst/>
          </a:prstGeom>
          <a:ln w="508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C471BD0B-19B3-4B3C-A5D3-9ADE09DE5D68}"/>
              </a:ext>
            </a:extLst>
          </p:cNvPr>
          <p:cNvSpPr txBox="1"/>
          <p:nvPr/>
        </p:nvSpPr>
        <p:spPr>
          <a:xfrm>
            <a:off x="4736516" y="3560379"/>
            <a:ext cx="1825715" cy="6051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Tension to be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 Managed</a:t>
            </a:r>
          </a:p>
        </p:txBody>
      </p:sp>
    </p:spTree>
    <p:extLst>
      <p:ext uri="{BB962C8B-B14F-4D97-AF65-F5344CB8AC3E}">
        <p14:creationId xmlns:p14="http://schemas.microsoft.com/office/powerpoint/2010/main" val="255799686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5DD74CE-5B26-449C-8CA0-B2F8F25E8ABF}"/>
              </a:ext>
            </a:extLst>
          </p:cNvPr>
          <p:cNvGrpSpPr/>
          <p:nvPr/>
        </p:nvGrpSpPr>
        <p:grpSpPr>
          <a:xfrm>
            <a:off x="1577788" y="2034237"/>
            <a:ext cx="8857130" cy="4734116"/>
            <a:chOff x="1577788" y="2034237"/>
            <a:chExt cx="8857130" cy="473411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29A40AA-93C3-46D7-876D-CB351D35C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26024" y="2034237"/>
              <a:ext cx="7876041" cy="4591647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D910F3D-59EA-4D3F-821B-A4E438CBC541}"/>
                </a:ext>
              </a:extLst>
            </p:cNvPr>
            <p:cNvSpPr/>
            <p:nvPr/>
          </p:nvSpPr>
          <p:spPr bwMode="auto">
            <a:xfrm>
              <a:off x="1577788" y="4482353"/>
              <a:ext cx="8857130" cy="228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</p:grpSp>
      <p:sp>
        <p:nvSpPr>
          <p:cNvPr id="7" name="Arrow: Down 6">
            <a:extLst>
              <a:ext uri="{FF2B5EF4-FFF2-40B4-BE49-F238E27FC236}">
                <a16:creationId xmlns:a16="http://schemas.microsoft.com/office/drawing/2014/main" id="{1146E224-9686-4BDC-A803-8462BB8769B8}"/>
              </a:ext>
            </a:extLst>
          </p:cNvPr>
          <p:cNvSpPr/>
          <p:nvPr/>
        </p:nvSpPr>
        <p:spPr bwMode="auto">
          <a:xfrm>
            <a:off x="5964044" y="4330060"/>
            <a:ext cx="472028" cy="770858"/>
          </a:xfrm>
          <a:prstGeom prst="downArrow">
            <a:avLst/>
          </a:prstGeom>
          <a:solidFill>
            <a:schemeClr val="tx1">
              <a:lumMod val="50000"/>
            </a:schemeClr>
          </a:solidFill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E24EE1-8D73-440A-AAFE-DF17A4066F42}"/>
              </a:ext>
            </a:extLst>
          </p:cNvPr>
          <p:cNvSpPr txBox="1"/>
          <p:nvPr/>
        </p:nvSpPr>
        <p:spPr>
          <a:xfrm>
            <a:off x="2796988" y="5100918"/>
            <a:ext cx="6840070" cy="1117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Strategic Planning </a:t>
            </a: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will be the vehicle to seek critical dependencies, synergies, economies of scale, and portfolio balancing opportunities across Business Units.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48" charset="-128"/>
              <a:cs typeface="Arial" panose="020B0604020202020204" pitchFamily="34" charset="0"/>
            </a:endParaRP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ITGC(*) </a:t>
            </a: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will be the forum to finalize the “handshake” resolution of healthy tension for significant programs, enabled by Enterprise Architecture. </a:t>
            </a:r>
            <a:endParaRPr kumimoji="0" lang="en-US" sz="1333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48" charset="-128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E1A947-3174-4793-9233-1718FB5D458D}"/>
              </a:ext>
            </a:extLst>
          </p:cNvPr>
          <p:cNvSpPr txBox="1"/>
          <p:nvPr/>
        </p:nvSpPr>
        <p:spPr>
          <a:xfrm>
            <a:off x="349689" y="912303"/>
            <a:ext cx="103272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5555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Enabled through IT Strategy and Planning Office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55555A">
                  <a:lumMod val="50000"/>
                </a:srgbClr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ＭＳ Ｐゴシック" pitchFamily="48" charset="-128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720963-0DF8-48AE-8F2B-8148FEF24F25}"/>
              </a:ext>
            </a:extLst>
          </p:cNvPr>
          <p:cNvSpPr txBox="1"/>
          <p:nvPr/>
        </p:nvSpPr>
        <p:spPr>
          <a:xfrm>
            <a:off x="4183739" y="6623466"/>
            <a:ext cx="4111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48" charset="-128"/>
                <a:cs typeface="Arial" panose="020B0604020202020204" pitchFamily="34" charset="0"/>
              </a:rPr>
              <a:t>(*) ITGC details, membership, processes TBD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C0B8BE-8C73-4B68-A386-10DB7F047B8C}"/>
              </a:ext>
            </a:extLst>
          </p:cNvPr>
          <p:cNvSpPr txBox="1">
            <a:spLocks/>
          </p:cNvSpPr>
          <p:nvPr/>
        </p:nvSpPr>
        <p:spPr bwMode="auto">
          <a:xfrm>
            <a:off x="378229" y="306151"/>
            <a:ext cx="11451544" cy="465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anage the Health Tension through Partnership</a:t>
            </a:r>
          </a:p>
        </p:txBody>
      </p:sp>
    </p:spTree>
    <p:extLst>
      <p:ext uri="{BB962C8B-B14F-4D97-AF65-F5344CB8AC3E}">
        <p14:creationId xmlns:p14="http://schemas.microsoft.com/office/powerpoint/2010/main" val="114144092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438AA00C-9F55-47EF-B7B0-F8AAB08B4FE1}"/>
              </a:ext>
            </a:extLst>
          </p:cNvPr>
          <p:cNvGraphicFramePr/>
          <p:nvPr/>
        </p:nvGraphicFramePr>
        <p:xfrm>
          <a:off x="6655171" y="2129047"/>
          <a:ext cx="5695576" cy="37637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D294CE-C4C6-4369-9C38-CBE1765E37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D294CE-C4C6-4369-9C38-CBE1765E37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2CD40AB-0CEC-4879-B4D1-B08BE81CBE0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3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9CB2B4-A509-4CA3-AA50-FB5DD07ECA2D}"/>
              </a:ext>
            </a:extLst>
          </p:cNvPr>
          <p:cNvSpPr txBox="1"/>
          <p:nvPr/>
        </p:nvSpPr>
        <p:spPr bwMode="auto">
          <a:xfrm>
            <a:off x="333418" y="871276"/>
            <a:ext cx="1149232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>
              <a:defRPr sz="1050" b="0"/>
            </a:lvl1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5555A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he core EA team (EA </a:t>
            </a:r>
            <a:r>
              <a:rPr kumimoji="0" lang="en-US" sz="1400" b="0" i="0" u="none" strike="noStrike" kern="0" cap="none" spc="0" normalizeH="0" baseline="0" noProof="0" err="1">
                <a:ln>
                  <a:noFill/>
                </a:ln>
                <a:solidFill>
                  <a:srgbClr val="55555A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oE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5555A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) must own the strategy, standards and governance across the federated Enterprise Architecture capabilities in order to mature the capabilities, manage cross-domain opportunities, defragment and rationalize the application and technical landscapes, reduce technical debt, and promote re-use.</a:t>
            </a:r>
          </a:p>
        </p:txBody>
      </p:sp>
      <p:graphicFrame>
        <p:nvGraphicFramePr>
          <p:cNvPr id="62" name="Diagram 61">
            <a:extLst>
              <a:ext uri="{FF2B5EF4-FFF2-40B4-BE49-F238E27FC236}">
                <a16:creationId xmlns:a16="http://schemas.microsoft.com/office/drawing/2014/main" id="{AE8A2F59-CB72-4AF3-B5EF-81BF80854B4E}"/>
              </a:ext>
            </a:extLst>
          </p:cNvPr>
          <p:cNvGraphicFramePr/>
          <p:nvPr/>
        </p:nvGraphicFramePr>
        <p:xfrm>
          <a:off x="723337" y="2070847"/>
          <a:ext cx="4341905" cy="38612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pSp>
        <p:nvGrpSpPr>
          <p:cNvPr id="63" name="Group 62">
            <a:extLst>
              <a:ext uri="{FF2B5EF4-FFF2-40B4-BE49-F238E27FC236}">
                <a16:creationId xmlns:a16="http://schemas.microsoft.com/office/drawing/2014/main" id="{124C0993-1D27-4390-A1FB-426B9087BFBC}"/>
              </a:ext>
            </a:extLst>
          </p:cNvPr>
          <p:cNvGrpSpPr/>
          <p:nvPr/>
        </p:nvGrpSpPr>
        <p:grpSpPr>
          <a:xfrm>
            <a:off x="827585" y="6029704"/>
            <a:ext cx="900956" cy="688840"/>
            <a:chOff x="6450106" y="3092825"/>
            <a:chExt cx="1231241" cy="860609"/>
          </a:xfrm>
        </p:grpSpPr>
        <p:sp>
          <p:nvSpPr>
            <p:cNvPr id="64" name="Star: 5 Points 63">
              <a:extLst>
                <a:ext uri="{FF2B5EF4-FFF2-40B4-BE49-F238E27FC236}">
                  <a16:creationId xmlns:a16="http://schemas.microsoft.com/office/drawing/2014/main" id="{9578A0A4-55C3-4847-9BDA-61498D2ED4E3}"/>
                </a:ext>
              </a:extLst>
            </p:cNvPr>
            <p:cNvSpPr/>
            <p:nvPr/>
          </p:nvSpPr>
          <p:spPr bwMode="auto">
            <a:xfrm>
              <a:off x="6450106" y="3092825"/>
              <a:ext cx="304800" cy="259977"/>
            </a:xfrm>
            <a:prstGeom prst="star5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65" name="Star: 5 Points 64">
              <a:extLst>
                <a:ext uri="{FF2B5EF4-FFF2-40B4-BE49-F238E27FC236}">
                  <a16:creationId xmlns:a16="http://schemas.microsoft.com/office/drawing/2014/main" id="{2001A55F-6CC5-4409-A788-74C0E02AD1D4}"/>
                </a:ext>
              </a:extLst>
            </p:cNvPr>
            <p:cNvSpPr/>
            <p:nvPr/>
          </p:nvSpPr>
          <p:spPr bwMode="auto">
            <a:xfrm>
              <a:off x="6450106" y="3393141"/>
              <a:ext cx="304800" cy="259977"/>
            </a:xfrm>
            <a:prstGeom prst="star5">
              <a:avLst/>
            </a:prstGeom>
            <a:solidFill>
              <a:srgbClr val="00B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66" name="Star: 5 Points 65">
              <a:extLst>
                <a:ext uri="{FF2B5EF4-FFF2-40B4-BE49-F238E27FC236}">
                  <a16:creationId xmlns:a16="http://schemas.microsoft.com/office/drawing/2014/main" id="{82B653C9-A0C6-46B4-A38E-3232D892ECF2}"/>
                </a:ext>
              </a:extLst>
            </p:cNvPr>
            <p:cNvSpPr/>
            <p:nvPr/>
          </p:nvSpPr>
          <p:spPr bwMode="auto">
            <a:xfrm>
              <a:off x="6450106" y="3693457"/>
              <a:ext cx="304800" cy="259977"/>
            </a:xfrm>
            <a:prstGeom prst="star5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6F1D531E-0ACC-4660-A5DE-5D123980B1CB}"/>
                </a:ext>
              </a:extLst>
            </p:cNvPr>
            <p:cNvSpPr txBox="1"/>
            <p:nvPr/>
          </p:nvSpPr>
          <p:spPr bwMode="auto">
            <a:xfrm>
              <a:off x="6804208" y="3128685"/>
              <a:ext cx="298159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Risk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586339F-77E4-48D8-BCC5-D36BC512F42F}"/>
                </a:ext>
              </a:extLst>
            </p:cNvPr>
            <p:cNvSpPr txBox="1"/>
            <p:nvPr/>
          </p:nvSpPr>
          <p:spPr bwMode="auto">
            <a:xfrm>
              <a:off x="6813172" y="3442449"/>
              <a:ext cx="56265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Synergy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9900B77-EE26-486B-A1D9-3E490B99F3C1}"/>
                </a:ext>
              </a:extLst>
            </p:cNvPr>
            <p:cNvSpPr txBox="1"/>
            <p:nvPr/>
          </p:nvSpPr>
          <p:spPr bwMode="auto">
            <a:xfrm>
              <a:off x="6822137" y="3738283"/>
              <a:ext cx="85921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ependency</a:t>
              </a:r>
            </a:p>
          </p:txBody>
        </p:sp>
      </p:grpSp>
      <p:sp>
        <p:nvSpPr>
          <p:cNvPr id="70" name="Star: 5 Points 69">
            <a:extLst>
              <a:ext uri="{FF2B5EF4-FFF2-40B4-BE49-F238E27FC236}">
                <a16:creationId xmlns:a16="http://schemas.microsoft.com/office/drawing/2014/main" id="{22A622AC-BC56-4C6E-8C7A-8214E2B00620}"/>
              </a:ext>
            </a:extLst>
          </p:cNvPr>
          <p:cNvSpPr/>
          <p:nvPr/>
        </p:nvSpPr>
        <p:spPr bwMode="auto">
          <a:xfrm>
            <a:off x="1291510" y="3312458"/>
            <a:ext cx="304800" cy="259977"/>
          </a:xfrm>
          <a:prstGeom prst="star5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71" name="Star: 5 Points 70">
            <a:extLst>
              <a:ext uri="{FF2B5EF4-FFF2-40B4-BE49-F238E27FC236}">
                <a16:creationId xmlns:a16="http://schemas.microsoft.com/office/drawing/2014/main" id="{B562E9AE-5F96-4BD2-AA6A-78A1A5CA060C}"/>
              </a:ext>
            </a:extLst>
          </p:cNvPr>
          <p:cNvSpPr/>
          <p:nvPr/>
        </p:nvSpPr>
        <p:spPr bwMode="auto">
          <a:xfrm>
            <a:off x="4233019" y="5090513"/>
            <a:ext cx="304800" cy="259977"/>
          </a:xfrm>
          <a:prstGeom prst="star5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72" name="Star: 5 Points 71">
            <a:extLst>
              <a:ext uri="{FF2B5EF4-FFF2-40B4-BE49-F238E27FC236}">
                <a16:creationId xmlns:a16="http://schemas.microsoft.com/office/drawing/2014/main" id="{7F34B5F4-F809-4D80-B20E-EB1BA05262DA}"/>
              </a:ext>
            </a:extLst>
          </p:cNvPr>
          <p:cNvSpPr/>
          <p:nvPr/>
        </p:nvSpPr>
        <p:spPr bwMode="auto">
          <a:xfrm>
            <a:off x="1278063" y="4223426"/>
            <a:ext cx="304800" cy="259977"/>
          </a:xfrm>
          <a:prstGeom prst="star5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73" name="Star: 5 Points 72">
            <a:extLst>
              <a:ext uri="{FF2B5EF4-FFF2-40B4-BE49-F238E27FC236}">
                <a16:creationId xmlns:a16="http://schemas.microsoft.com/office/drawing/2014/main" id="{DCDB84C4-C0B0-4A4F-940E-A4F761069C74}"/>
              </a:ext>
            </a:extLst>
          </p:cNvPr>
          <p:cNvSpPr/>
          <p:nvPr/>
        </p:nvSpPr>
        <p:spPr bwMode="auto">
          <a:xfrm>
            <a:off x="2441262" y="3540531"/>
            <a:ext cx="304800" cy="259977"/>
          </a:xfrm>
          <a:prstGeom prst="star5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8A38208F-E113-47D1-A00F-4F1ABA80CB78}"/>
              </a:ext>
            </a:extLst>
          </p:cNvPr>
          <p:cNvCxnSpPr>
            <a:stCxn id="73" idx="2"/>
            <a:endCxn id="72" idx="4"/>
          </p:cNvCxnSpPr>
          <p:nvPr/>
        </p:nvCxnSpPr>
        <p:spPr bwMode="auto">
          <a:xfrm flipH="1">
            <a:off x="1582863" y="3800507"/>
            <a:ext cx="916611" cy="52222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B050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Star: 5 Points 74">
            <a:extLst>
              <a:ext uri="{FF2B5EF4-FFF2-40B4-BE49-F238E27FC236}">
                <a16:creationId xmlns:a16="http://schemas.microsoft.com/office/drawing/2014/main" id="{09F88987-C28C-4FD2-908D-78F0B8AC224B}"/>
              </a:ext>
            </a:extLst>
          </p:cNvPr>
          <p:cNvSpPr/>
          <p:nvPr/>
        </p:nvSpPr>
        <p:spPr bwMode="auto">
          <a:xfrm>
            <a:off x="1314298" y="3572959"/>
            <a:ext cx="304800" cy="259977"/>
          </a:xfrm>
          <a:prstGeom prst="star5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76" name="Star: 5 Points 75">
            <a:extLst>
              <a:ext uri="{FF2B5EF4-FFF2-40B4-BE49-F238E27FC236}">
                <a16:creationId xmlns:a16="http://schemas.microsoft.com/office/drawing/2014/main" id="{57A29826-0418-443D-8A07-8A5F8C2AA21C}"/>
              </a:ext>
            </a:extLst>
          </p:cNvPr>
          <p:cNvSpPr/>
          <p:nvPr/>
        </p:nvSpPr>
        <p:spPr bwMode="auto">
          <a:xfrm>
            <a:off x="2741889" y="3369149"/>
            <a:ext cx="304800" cy="259977"/>
          </a:xfrm>
          <a:prstGeom prst="star5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77" name="Star: 5 Points 76">
            <a:extLst>
              <a:ext uri="{FF2B5EF4-FFF2-40B4-BE49-F238E27FC236}">
                <a16:creationId xmlns:a16="http://schemas.microsoft.com/office/drawing/2014/main" id="{31D6812F-945F-49D8-8BC2-0EFEEDB93910}"/>
              </a:ext>
            </a:extLst>
          </p:cNvPr>
          <p:cNvSpPr/>
          <p:nvPr/>
        </p:nvSpPr>
        <p:spPr bwMode="auto">
          <a:xfrm>
            <a:off x="4243477" y="3670519"/>
            <a:ext cx="304800" cy="259977"/>
          </a:xfrm>
          <a:prstGeom prst="star5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C93941E2-2F07-452E-A6C7-FA089EE7356C}"/>
              </a:ext>
            </a:extLst>
          </p:cNvPr>
          <p:cNvCxnSpPr>
            <a:endCxn id="76" idx="1"/>
          </p:cNvCxnSpPr>
          <p:nvPr/>
        </p:nvCxnSpPr>
        <p:spPr bwMode="auto">
          <a:xfrm flipV="1">
            <a:off x="1589992" y="3468451"/>
            <a:ext cx="1151897" cy="23449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B59D25AB-0593-468F-8236-4F219CE6B41A}"/>
              </a:ext>
            </a:extLst>
          </p:cNvPr>
          <p:cNvCxnSpPr>
            <a:stCxn id="76" idx="4"/>
            <a:endCxn id="77" idx="1"/>
          </p:cNvCxnSpPr>
          <p:nvPr/>
        </p:nvCxnSpPr>
        <p:spPr bwMode="auto">
          <a:xfrm>
            <a:off x="3046689" y="3468451"/>
            <a:ext cx="1196788" cy="30137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C1FACA4F-BC2D-40A6-98C5-73E50F5EC1AD}"/>
              </a:ext>
            </a:extLst>
          </p:cNvPr>
          <p:cNvSpPr txBox="1"/>
          <p:nvPr/>
        </p:nvSpPr>
        <p:spPr bwMode="auto">
          <a:xfrm>
            <a:off x="931929" y="2932145"/>
            <a:ext cx="99706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omain Arch(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olution Arch(s)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A2C2AAB-EC4E-4112-B06C-6571CC100EFC}"/>
              </a:ext>
            </a:extLst>
          </p:cNvPr>
          <p:cNvSpPr txBox="1"/>
          <p:nvPr/>
        </p:nvSpPr>
        <p:spPr bwMode="auto">
          <a:xfrm>
            <a:off x="2409630" y="2952251"/>
            <a:ext cx="99706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omain Arch(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olution Arch(s)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7497FBD-86F7-49E0-A35B-3E9471060ACE}"/>
              </a:ext>
            </a:extLst>
          </p:cNvPr>
          <p:cNvSpPr txBox="1"/>
          <p:nvPr/>
        </p:nvSpPr>
        <p:spPr bwMode="auto">
          <a:xfrm>
            <a:off x="3897343" y="2952251"/>
            <a:ext cx="99706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omain Arch(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olution Arch(s)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F703F406-BD6F-4719-903C-CF0AA2907857}"/>
              </a:ext>
            </a:extLst>
          </p:cNvPr>
          <p:cNvSpPr/>
          <p:nvPr/>
        </p:nvSpPr>
        <p:spPr bwMode="auto">
          <a:xfrm>
            <a:off x="5229844" y="2802828"/>
            <a:ext cx="3047381" cy="457200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D95A00-6445-430D-B895-46770BA29A3D}"/>
              </a:ext>
            </a:extLst>
          </p:cNvPr>
          <p:cNvSpPr txBox="1"/>
          <p:nvPr/>
        </p:nvSpPr>
        <p:spPr bwMode="auto">
          <a:xfrm>
            <a:off x="5332670" y="2360215"/>
            <a:ext cx="2906245" cy="407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Business Unit Roadma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eeking risks, synergies, dependencies</a:t>
            </a:r>
          </a:p>
        </p:txBody>
      </p:sp>
      <p:sp>
        <p:nvSpPr>
          <p:cNvPr id="88" name="Arrow: Right 87">
            <a:extLst>
              <a:ext uri="{FF2B5EF4-FFF2-40B4-BE49-F238E27FC236}">
                <a16:creationId xmlns:a16="http://schemas.microsoft.com/office/drawing/2014/main" id="{57A60088-F315-4B38-BA3D-6C96EDAD6A0D}"/>
              </a:ext>
            </a:extLst>
          </p:cNvPr>
          <p:cNvSpPr/>
          <p:nvPr/>
        </p:nvSpPr>
        <p:spPr bwMode="auto">
          <a:xfrm rot="10800000">
            <a:off x="5131480" y="4861913"/>
            <a:ext cx="3047381" cy="457200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AF6EDC3-2E2E-41DA-8B8D-F39BB92294A4}"/>
              </a:ext>
            </a:extLst>
          </p:cNvPr>
          <p:cNvSpPr txBox="1"/>
          <p:nvPr/>
        </p:nvSpPr>
        <p:spPr bwMode="auto">
          <a:xfrm>
            <a:off x="5499446" y="5288083"/>
            <a:ext cx="3018455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Best practices, common ways of work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nabling Strateg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Resolution of Healthy Tens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2FC339-B0A7-4E0C-8511-F488B38C877C}"/>
              </a:ext>
            </a:extLst>
          </p:cNvPr>
          <p:cNvGrpSpPr/>
          <p:nvPr/>
        </p:nvGrpSpPr>
        <p:grpSpPr>
          <a:xfrm>
            <a:off x="5674721" y="3312458"/>
            <a:ext cx="2170823" cy="1609950"/>
            <a:chOff x="5674721" y="3312458"/>
            <a:chExt cx="2170823" cy="160995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75234CC6-8504-455C-B5BF-6DDE0C3305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6045692" y="3312458"/>
              <a:ext cx="1267002" cy="1609950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4A11A1F-6A24-4857-9599-3BA6C86F1025}"/>
                </a:ext>
              </a:extLst>
            </p:cNvPr>
            <p:cNvSpPr/>
            <p:nvPr/>
          </p:nvSpPr>
          <p:spPr bwMode="auto">
            <a:xfrm>
              <a:off x="5674721" y="3867419"/>
              <a:ext cx="587309" cy="59778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AB1A463-029E-4FFF-AFEC-420FB06A7C4D}"/>
                </a:ext>
              </a:extLst>
            </p:cNvPr>
            <p:cNvSpPr/>
            <p:nvPr/>
          </p:nvSpPr>
          <p:spPr bwMode="auto">
            <a:xfrm>
              <a:off x="7258235" y="3912904"/>
              <a:ext cx="587309" cy="100950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C7988D77-6EAB-452C-8EE5-8B0EB93760D2}"/>
              </a:ext>
            </a:extLst>
          </p:cNvPr>
          <p:cNvSpPr txBox="1">
            <a:spLocks/>
          </p:cNvSpPr>
          <p:nvPr/>
        </p:nvSpPr>
        <p:spPr bwMode="auto">
          <a:xfrm>
            <a:off x="378229" y="306151"/>
            <a:ext cx="11451544" cy="465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he Federated Model Feedback Loop:  Business Unit and Enterprise</a:t>
            </a:r>
            <a:endParaRPr kumimoji="0" lang="en-GB" sz="2400" b="1" i="0" u="none" strike="noStrike" kern="0" cap="none" spc="0" normalizeH="0" baseline="0" noProof="0">
              <a:ln>
                <a:noFill/>
              </a:ln>
              <a:solidFill>
                <a:srgbClr val="00148C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6494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Box 131">
            <a:extLst>
              <a:ext uri="{FF2B5EF4-FFF2-40B4-BE49-F238E27FC236}">
                <a16:creationId xmlns:a16="http://schemas.microsoft.com/office/drawing/2014/main" id="{FCAB7CF2-953A-453D-BD4F-C5BC4A529CB6}"/>
              </a:ext>
            </a:extLst>
          </p:cNvPr>
          <p:cNvSpPr txBox="1"/>
          <p:nvPr/>
        </p:nvSpPr>
        <p:spPr>
          <a:xfrm>
            <a:off x="237677" y="872939"/>
            <a:ext cx="9869883" cy="5271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e have an urgent need to comb the FY22 demand across all business units to identify the significant risks, synergies, and dependencie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e will have a deep dive per domain to review the domain roadmap as well as the immediate FY22 demand.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ome business units are more mature than others.  We are looking to assess the best possible view you currently hav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t the deep dive, each Domain Architect will present two views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he Domain or Sub-Domain (major program) roadmap vie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his is your </a:t>
            </a:r>
            <a:r>
              <a:rPr kumimoji="0" lang="en-US" sz="1333" b="0" i="0" u="sng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oadmap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, your hypothesis for how the portfolio matures over tim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f possible, leverage the emerging template standard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hlinkClick r:id="rId2"/>
              </a:rPr>
              <a:t>found here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 However, if you have an different roadmap format the conveys similar information, then leverage what you have for this exercis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he Domain FY22 Demand Summar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 startAt="2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You are required to use the format 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hlinkClick r:id="rId3"/>
              </a:rPr>
              <a:t>found here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he FY22 Demand Summary is an outline of the expected FY22 Solution Visions and Solution Designs</a:t>
            </a: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his is an outline, not a vehicle for solutioning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110C9C4-88AB-4884-B1B4-9163090FFC6F}"/>
              </a:ext>
            </a:extLst>
          </p:cNvPr>
          <p:cNvSpPr txBox="1">
            <a:spLocks/>
          </p:cNvSpPr>
          <p:nvPr/>
        </p:nvSpPr>
        <p:spPr bwMode="auto">
          <a:xfrm>
            <a:off x="378229" y="306151"/>
            <a:ext cx="11451544" cy="465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hat we need to do ASAP as an enabler for FY22</a:t>
            </a:r>
          </a:p>
        </p:txBody>
      </p:sp>
    </p:spTree>
    <p:extLst>
      <p:ext uri="{BB962C8B-B14F-4D97-AF65-F5344CB8AC3E}">
        <p14:creationId xmlns:p14="http://schemas.microsoft.com/office/powerpoint/2010/main" val="21026226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8Go24xDPfTtCGx0Jno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8Go24xDPfTtCGx0Jno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YOR6foDZQ039Lw.id9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ix2ha048YB8aglbriZ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8Go24xDPfTtCGx0Jno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8Go24xDPfTtCGx0Jno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ix2ha048YB8aglbriZ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3.xml><?xml version="1.0" encoding="utf-8"?>
<a:theme xmlns:a="http://schemas.openxmlformats.org/drawingml/2006/main" name="2_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4.xml><?xml version="1.0" encoding="utf-8"?>
<a:theme xmlns:a="http://schemas.openxmlformats.org/drawingml/2006/main" name="3_NG_PPT_16x9_Generic_template-blue">
  <a:themeElements>
    <a:clrScheme name="Custom 39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55555A"/>
      </a:hlink>
      <a:folHlink>
        <a:srgbClr val="55555A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7" id="{CC27004C-49B1-4C8A-951A-86B91DA4BA26}" vid="{08236C6D-D3EC-418D-88C2-A152A120101A}"/>
    </a:ext>
  </a:extLst>
</a:theme>
</file>

<file path=ppt/theme/theme5.xml><?xml version="1.0" encoding="utf-8"?>
<a:theme xmlns:a="http://schemas.openxmlformats.org/drawingml/2006/main" name="4_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6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E8E0B7C2A7B4DB6163B9CBA7F42FC" ma:contentTypeVersion="12" ma:contentTypeDescription="Create a new document." ma:contentTypeScope="" ma:versionID="645bc6d188a3a0bde08e072b467e8166">
  <xsd:schema xmlns:xsd="http://www.w3.org/2001/XMLSchema" xmlns:xs="http://www.w3.org/2001/XMLSchema" xmlns:p="http://schemas.microsoft.com/office/2006/metadata/properties" xmlns:ns3="2580299a-65eb-424d-a42a-9bb5c9566763" xmlns:ns4="7b1757c9-4b9e-4cb1-b207-accd0ae0f4e3" targetNamespace="http://schemas.microsoft.com/office/2006/metadata/properties" ma:root="true" ma:fieldsID="429020c1f3585193e37e47042351b483" ns3:_="" ns4:_="">
    <xsd:import namespace="2580299a-65eb-424d-a42a-9bb5c9566763"/>
    <xsd:import namespace="7b1757c9-4b9e-4cb1-b207-accd0ae0f4e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80299a-65eb-424d-a42a-9bb5c95667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1757c9-4b9e-4cb1-b207-accd0ae0f4e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0997EE-5401-426E-AA3F-239005FD83FD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7b1757c9-4b9e-4cb1-b207-accd0ae0f4e3"/>
    <ds:schemaRef ds:uri="2580299a-65eb-424d-a42a-9bb5c956676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F6B14AE-1B9E-4ED5-8BA7-D2615FB044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53ED61-0BFA-4D86-B869-C61F4D1525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80299a-65eb-424d-a42a-9bb5c9566763"/>
    <ds:schemaRef ds:uri="7b1757c9-4b9e-4cb1-b207-accd0ae0f4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1</Words>
  <Application>Microsoft Office PowerPoint</Application>
  <PresentationFormat>Widescreen</PresentationFormat>
  <Paragraphs>101</Paragraphs>
  <Slides>5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Custom Design</vt:lpstr>
      <vt:lpstr>NG_PPT_16x9_Generic_template-blue</vt:lpstr>
      <vt:lpstr>2_NG_PPT_16x9_Generic_template-blue</vt:lpstr>
      <vt:lpstr>3_NG_PPT_16x9_Generic_template-blue</vt:lpstr>
      <vt:lpstr>4_NG_PPT_16x9_Generic_template-blue</vt:lpstr>
      <vt:lpstr>US NG_2018 PPT__EnergyLines Template 16x9</vt:lpstr>
      <vt:lpstr>FY22 Deep Dive Kickoff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A Organization</dc:title>
  <dc:creator>Pratico, Lisa</dc:creator>
  <cp:lastModifiedBy>Schoener, Andy</cp:lastModifiedBy>
  <cp:revision>2</cp:revision>
  <dcterms:created xsi:type="dcterms:W3CDTF">2021-01-07T04:22:00Z</dcterms:created>
  <dcterms:modified xsi:type="dcterms:W3CDTF">2021-01-26T21:46:22Z</dcterms:modified>
</cp:coreProperties>
</file>